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2147309020" r:id="rId2"/>
    <p:sldId id="2147309025" r:id="rId3"/>
    <p:sldId id="2147309027" r:id="rId4"/>
    <p:sldId id="2147309026" r:id="rId5"/>
    <p:sldId id="2147309024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6" autoAdjust="0"/>
    <p:restoredTop sz="94660"/>
  </p:normalViewPr>
  <p:slideViewPr>
    <p:cSldViewPr snapToGrid="0">
      <p:cViewPr>
        <p:scale>
          <a:sx n="60" d="100"/>
          <a:sy n="60" d="100"/>
        </p:scale>
        <p:origin x="912" y="-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69C3A55-E1D2-4FB4-9324-4AC24690D739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D322C049-878E-4310-A1E2-9B6CFE1B02C5}">
      <dgm:prSet phldrT="[Text]" phldr="1"/>
      <dgm:spPr>
        <a:noFill/>
        <a:ln>
          <a:solidFill>
            <a:schemeClr val="tx2"/>
          </a:solidFill>
        </a:ln>
      </dgm:spPr>
      <dgm:t>
        <a:bodyPr/>
        <a:lstStyle/>
        <a:p>
          <a:endParaRPr lang="en-US" dirty="0"/>
        </a:p>
      </dgm:t>
    </dgm:pt>
    <dgm:pt modelId="{29D86CB8-4C6C-43C8-8611-C9C51624810D}" type="parTrans" cxnId="{E60A27FD-7030-4481-A568-F1088948F655}">
      <dgm:prSet/>
      <dgm:spPr/>
      <dgm:t>
        <a:bodyPr/>
        <a:lstStyle/>
        <a:p>
          <a:endParaRPr lang="en-US"/>
        </a:p>
      </dgm:t>
    </dgm:pt>
    <dgm:pt modelId="{DFC2E317-D787-4380-9B5F-5B39E1A94601}" type="sibTrans" cxnId="{E60A27FD-7030-4481-A568-F1088948F655}">
      <dgm:prSet/>
      <dgm:spPr/>
      <dgm:t>
        <a:bodyPr/>
        <a:lstStyle/>
        <a:p>
          <a:endParaRPr lang="en-US"/>
        </a:p>
      </dgm:t>
    </dgm:pt>
    <dgm:pt modelId="{2521D851-1DCE-4CC4-82D2-4A8DF2604468}">
      <dgm:prSet phldrT="[Text]" phldr="1"/>
      <dgm:spPr/>
      <dgm:t>
        <a:bodyPr/>
        <a:lstStyle/>
        <a:p>
          <a:endParaRPr lang="en-US" dirty="0"/>
        </a:p>
      </dgm:t>
    </dgm:pt>
    <dgm:pt modelId="{AB9E9E9C-9518-4BB7-B773-559829CAAAA2}" type="parTrans" cxnId="{910940F6-8DE5-4DE2-865E-9880A14B67FD}">
      <dgm:prSet/>
      <dgm:spPr/>
      <dgm:t>
        <a:bodyPr/>
        <a:lstStyle/>
        <a:p>
          <a:endParaRPr lang="en-US"/>
        </a:p>
      </dgm:t>
    </dgm:pt>
    <dgm:pt modelId="{F74AE2D7-AEBC-42D5-8B17-105D2DF0BC3F}" type="sibTrans" cxnId="{910940F6-8DE5-4DE2-865E-9880A14B67FD}">
      <dgm:prSet/>
      <dgm:spPr/>
      <dgm:t>
        <a:bodyPr/>
        <a:lstStyle/>
        <a:p>
          <a:endParaRPr lang="en-US"/>
        </a:p>
      </dgm:t>
    </dgm:pt>
    <dgm:pt modelId="{51F92E60-CCF5-411F-A32F-1828329E49AE}">
      <dgm:prSet phldrT="[Text]" phldr="1"/>
      <dgm:spPr/>
      <dgm:t>
        <a:bodyPr/>
        <a:lstStyle/>
        <a:p>
          <a:endParaRPr lang="en-US" dirty="0"/>
        </a:p>
      </dgm:t>
    </dgm:pt>
    <dgm:pt modelId="{F56071F5-9092-41D0-A596-9FE7AAE9A788}" type="parTrans" cxnId="{EA57CC6C-6B75-44F9-97CC-CD35F339C5AA}">
      <dgm:prSet/>
      <dgm:spPr/>
      <dgm:t>
        <a:bodyPr/>
        <a:lstStyle/>
        <a:p>
          <a:endParaRPr lang="en-US"/>
        </a:p>
      </dgm:t>
    </dgm:pt>
    <dgm:pt modelId="{6F4930D0-65D7-43A4-9CC4-5112F6E5E5E4}" type="sibTrans" cxnId="{EA57CC6C-6B75-44F9-97CC-CD35F339C5AA}">
      <dgm:prSet/>
      <dgm:spPr/>
      <dgm:t>
        <a:bodyPr/>
        <a:lstStyle/>
        <a:p>
          <a:endParaRPr lang="en-US"/>
        </a:p>
      </dgm:t>
    </dgm:pt>
    <dgm:pt modelId="{72F759BF-34EB-462D-BA48-778BE8B0E424}">
      <dgm:prSet phldrT="[Text]" phldr="1"/>
      <dgm:spPr/>
      <dgm:t>
        <a:bodyPr/>
        <a:lstStyle/>
        <a:p>
          <a:endParaRPr lang="en-US"/>
        </a:p>
      </dgm:t>
    </dgm:pt>
    <dgm:pt modelId="{4FA33F53-CFA7-4E25-A723-3361666B6A83}" type="parTrans" cxnId="{DE9B6E3D-046A-4EC3-96DE-9AC7312CD99A}">
      <dgm:prSet/>
      <dgm:spPr/>
      <dgm:t>
        <a:bodyPr/>
        <a:lstStyle/>
        <a:p>
          <a:endParaRPr lang="en-US"/>
        </a:p>
      </dgm:t>
    </dgm:pt>
    <dgm:pt modelId="{B77C64DA-AC5C-4F24-AF92-9E0B2DF1BB1F}" type="sibTrans" cxnId="{DE9B6E3D-046A-4EC3-96DE-9AC7312CD99A}">
      <dgm:prSet/>
      <dgm:spPr/>
      <dgm:t>
        <a:bodyPr/>
        <a:lstStyle/>
        <a:p>
          <a:endParaRPr lang="en-US"/>
        </a:p>
      </dgm:t>
    </dgm:pt>
    <dgm:pt modelId="{AD6A46B3-EF39-4B00-B0D6-DC27F295C375}">
      <dgm:prSet phldrT="[Text]" phldr="1"/>
      <dgm:spPr>
        <a:noFill/>
        <a:ln>
          <a:solidFill>
            <a:schemeClr val="tx2"/>
          </a:solidFill>
        </a:ln>
      </dgm:spPr>
      <dgm:t>
        <a:bodyPr/>
        <a:lstStyle/>
        <a:p>
          <a:endParaRPr lang="en-US" dirty="0"/>
        </a:p>
      </dgm:t>
    </dgm:pt>
    <dgm:pt modelId="{5D2B4974-C79D-4344-B0AE-82905A8C464A}" type="parTrans" cxnId="{183637E0-CDCF-4AEA-AAFD-14287F30FD95}">
      <dgm:prSet/>
      <dgm:spPr/>
      <dgm:t>
        <a:bodyPr/>
        <a:lstStyle/>
        <a:p>
          <a:endParaRPr lang="en-US"/>
        </a:p>
      </dgm:t>
    </dgm:pt>
    <dgm:pt modelId="{0619FCA1-A9F7-4800-B61B-C344E38F6851}" type="sibTrans" cxnId="{183637E0-CDCF-4AEA-AAFD-14287F30FD95}">
      <dgm:prSet/>
      <dgm:spPr/>
      <dgm:t>
        <a:bodyPr/>
        <a:lstStyle/>
        <a:p>
          <a:endParaRPr lang="en-US"/>
        </a:p>
      </dgm:t>
    </dgm:pt>
    <dgm:pt modelId="{826C339D-54CA-4465-A618-980C668F2D42}">
      <dgm:prSet phldrT="[Text]" phldr="1"/>
      <dgm:spPr>
        <a:noFill/>
        <a:ln>
          <a:solidFill>
            <a:schemeClr val="tx2"/>
          </a:solidFill>
        </a:ln>
      </dgm:spPr>
      <dgm:t>
        <a:bodyPr/>
        <a:lstStyle/>
        <a:p>
          <a:endParaRPr lang="en-US" dirty="0"/>
        </a:p>
      </dgm:t>
    </dgm:pt>
    <dgm:pt modelId="{E6477D50-16DB-4B26-8490-409CF76FCA9E}" type="parTrans" cxnId="{BDC3AFA4-70BB-4C93-9AE6-DD06BD7709B3}">
      <dgm:prSet/>
      <dgm:spPr/>
      <dgm:t>
        <a:bodyPr/>
        <a:lstStyle/>
        <a:p>
          <a:endParaRPr lang="en-US"/>
        </a:p>
      </dgm:t>
    </dgm:pt>
    <dgm:pt modelId="{00D60F22-415B-4EA1-81AE-0A7A956D1D5F}" type="sibTrans" cxnId="{BDC3AFA4-70BB-4C93-9AE6-DD06BD7709B3}">
      <dgm:prSet/>
      <dgm:spPr/>
      <dgm:t>
        <a:bodyPr/>
        <a:lstStyle/>
        <a:p>
          <a:endParaRPr lang="en-US"/>
        </a:p>
      </dgm:t>
    </dgm:pt>
    <dgm:pt modelId="{DB27558E-D0B8-4632-85D8-12AC7C63B5CC}">
      <dgm:prSet phldrT="[Text]" phldr="1"/>
      <dgm:spPr/>
      <dgm:t>
        <a:bodyPr/>
        <a:lstStyle/>
        <a:p>
          <a:endParaRPr lang="en-US" dirty="0"/>
        </a:p>
      </dgm:t>
    </dgm:pt>
    <dgm:pt modelId="{C9992E58-1C7B-42E4-AB63-C9294CDB263E}" type="parTrans" cxnId="{B0ADF6FB-10DE-4C70-9A67-4F66F4B801A1}">
      <dgm:prSet/>
      <dgm:spPr/>
      <dgm:t>
        <a:bodyPr/>
        <a:lstStyle/>
        <a:p>
          <a:endParaRPr lang="en-US"/>
        </a:p>
      </dgm:t>
    </dgm:pt>
    <dgm:pt modelId="{EB803AAC-B0B1-40F7-86AD-B54F15D9D2C4}" type="sibTrans" cxnId="{B0ADF6FB-10DE-4C70-9A67-4F66F4B801A1}">
      <dgm:prSet/>
      <dgm:spPr/>
      <dgm:t>
        <a:bodyPr/>
        <a:lstStyle/>
        <a:p>
          <a:endParaRPr lang="en-US"/>
        </a:p>
      </dgm:t>
    </dgm:pt>
    <dgm:pt modelId="{96A22741-5092-493E-99A5-496CC81BE230}">
      <dgm:prSet phldrT="[Text]" phldr="1"/>
      <dgm:spPr/>
      <dgm:t>
        <a:bodyPr/>
        <a:lstStyle/>
        <a:p>
          <a:endParaRPr lang="en-US" dirty="0"/>
        </a:p>
      </dgm:t>
    </dgm:pt>
    <dgm:pt modelId="{931915FC-55E0-4A62-BD2C-B4C3A057C123}" type="parTrans" cxnId="{E8D1544E-97F8-4AE7-B089-C2FE40611E90}">
      <dgm:prSet/>
      <dgm:spPr/>
      <dgm:t>
        <a:bodyPr/>
        <a:lstStyle/>
        <a:p>
          <a:endParaRPr lang="en-US"/>
        </a:p>
      </dgm:t>
    </dgm:pt>
    <dgm:pt modelId="{F2CAE4D2-BE59-430D-A60E-3C41EAD5AD70}" type="sibTrans" cxnId="{E8D1544E-97F8-4AE7-B089-C2FE40611E90}">
      <dgm:prSet/>
      <dgm:spPr/>
      <dgm:t>
        <a:bodyPr/>
        <a:lstStyle/>
        <a:p>
          <a:endParaRPr lang="en-US"/>
        </a:p>
      </dgm:t>
    </dgm:pt>
    <dgm:pt modelId="{A2413C4E-9678-40B7-92E8-7EF4E3876BF4}">
      <dgm:prSet phldrT="[Text]" phldr="1"/>
      <dgm:spPr>
        <a:noFill/>
        <a:ln>
          <a:solidFill>
            <a:schemeClr val="tx2"/>
          </a:solidFill>
        </a:ln>
      </dgm:spPr>
      <dgm:t>
        <a:bodyPr/>
        <a:lstStyle/>
        <a:p>
          <a:endParaRPr lang="en-US" dirty="0"/>
        </a:p>
      </dgm:t>
    </dgm:pt>
    <dgm:pt modelId="{F0717060-2855-4676-96A4-CC92F2DEB5F0}" type="parTrans" cxnId="{82470106-9A8A-40A1-ADE4-42E65DDB7C4F}">
      <dgm:prSet/>
      <dgm:spPr/>
      <dgm:t>
        <a:bodyPr/>
        <a:lstStyle/>
        <a:p>
          <a:endParaRPr lang="en-US"/>
        </a:p>
      </dgm:t>
    </dgm:pt>
    <dgm:pt modelId="{34438746-7DAA-41BE-BFA8-4236479D8067}" type="sibTrans" cxnId="{82470106-9A8A-40A1-ADE4-42E65DDB7C4F}">
      <dgm:prSet/>
      <dgm:spPr/>
      <dgm:t>
        <a:bodyPr/>
        <a:lstStyle/>
        <a:p>
          <a:endParaRPr lang="en-US"/>
        </a:p>
      </dgm:t>
    </dgm:pt>
    <dgm:pt modelId="{5741EBA6-0D71-45E6-827A-BA07F7038235}" type="pres">
      <dgm:prSet presAssocID="{F69C3A55-E1D2-4FB4-9324-4AC24690D739}" presName="Name0" presStyleCnt="0">
        <dgm:presLayoutVars>
          <dgm:dir/>
          <dgm:resizeHandles val="exact"/>
        </dgm:presLayoutVars>
      </dgm:prSet>
      <dgm:spPr/>
    </dgm:pt>
    <dgm:pt modelId="{DF82FD0C-0E3E-419E-B9E5-4F9CCF866C94}" type="pres">
      <dgm:prSet presAssocID="{D322C049-878E-4310-A1E2-9B6CFE1B02C5}" presName="node" presStyleLbl="node1" presStyleIdx="0" presStyleCnt="9">
        <dgm:presLayoutVars>
          <dgm:bulletEnabled val="1"/>
        </dgm:presLayoutVars>
      </dgm:prSet>
      <dgm:spPr/>
    </dgm:pt>
    <dgm:pt modelId="{69B51B4F-CD78-4D9C-B0B5-1FA1AA0E56E6}" type="pres">
      <dgm:prSet presAssocID="{DFC2E317-D787-4380-9B5F-5B39E1A94601}" presName="sibTrans" presStyleLbl="sibTrans2D1" presStyleIdx="0" presStyleCnt="8"/>
      <dgm:spPr/>
    </dgm:pt>
    <dgm:pt modelId="{37F2BF75-E2B4-4AB5-AC81-D4B4DE59DB38}" type="pres">
      <dgm:prSet presAssocID="{DFC2E317-D787-4380-9B5F-5B39E1A94601}" presName="connectorText" presStyleLbl="sibTrans2D1" presStyleIdx="0" presStyleCnt="8"/>
      <dgm:spPr/>
    </dgm:pt>
    <dgm:pt modelId="{1DDFBC4D-80C6-4DCC-9048-80B45D1F593B}" type="pres">
      <dgm:prSet presAssocID="{A2413C4E-9678-40B7-92E8-7EF4E3876BF4}" presName="node" presStyleLbl="node1" presStyleIdx="1" presStyleCnt="9">
        <dgm:presLayoutVars>
          <dgm:bulletEnabled val="1"/>
        </dgm:presLayoutVars>
      </dgm:prSet>
      <dgm:spPr/>
    </dgm:pt>
    <dgm:pt modelId="{2304CCBF-B39A-414C-81EF-B263E8B29986}" type="pres">
      <dgm:prSet presAssocID="{34438746-7DAA-41BE-BFA8-4236479D8067}" presName="sibTrans" presStyleLbl="sibTrans2D1" presStyleIdx="1" presStyleCnt="8"/>
      <dgm:spPr/>
    </dgm:pt>
    <dgm:pt modelId="{72F7AF3C-9632-4E8A-B903-1BF4DFEAF9BE}" type="pres">
      <dgm:prSet presAssocID="{34438746-7DAA-41BE-BFA8-4236479D8067}" presName="connectorText" presStyleLbl="sibTrans2D1" presStyleIdx="1" presStyleCnt="8"/>
      <dgm:spPr/>
    </dgm:pt>
    <dgm:pt modelId="{26D51AC1-2275-48A7-AEAE-1F2E0B97A6DD}" type="pres">
      <dgm:prSet presAssocID="{AD6A46B3-EF39-4B00-B0D6-DC27F295C375}" presName="node" presStyleLbl="node1" presStyleIdx="2" presStyleCnt="9">
        <dgm:presLayoutVars>
          <dgm:bulletEnabled val="1"/>
        </dgm:presLayoutVars>
      </dgm:prSet>
      <dgm:spPr/>
    </dgm:pt>
    <dgm:pt modelId="{F175538A-3D73-4DB8-BFB5-DEB5F18973C5}" type="pres">
      <dgm:prSet presAssocID="{0619FCA1-A9F7-4800-B61B-C344E38F6851}" presName="sibTrans" presStyleLbl="sibTrans2D1" presStyleIdx="2" presStyleCnt="8"/>
      <dgm:spPr/>
    </dgm:pt>
    <dgm:pt modelId="{904B8D78-C5DF-48D1-900C-5CB9A1EBBBA4}" type="pres">
      <dgm:prSet presAssocID="{0619FCA1-A9F7-4800-B61B-C344E38F6851}" presName="connectorText" presStyleLbl="sibTrans2D1" presStyleIdx="2" presStyleCnt="8"/>
      <dgm:spPr/>
    </dgm:pt>
    <dgm:pt modelId="{755DD5DB-22B9-4B9A-9312-EC126184B10A}" type="pres">
      <dgm:prSet presAssocID="{826C339D-54CA-4465-A618-980C668F2D42}" presName="node" presStyleLbl="node1" presStyleIdx="3" presStyleCnt="9">
        <dgm:presLayoutVars>
          <dgm:bulletEnabled val="1"/>
        </dgm:presLayoutVars>
      </dgm:prSet>
      <dgm:spPr/>
    </dgm:pt>
    <dgm:pt modelId="{A507B630-2A4D-4DCA-92BB-788BA7F977D9}" type="pres">
      <dgm:prSet presAssocID="{00D60F22-415B-4EA1-81AE-0A7A956D1D5F}" presName="sibTrans" presStyleLbl="sibTrans2D1" presStyleIdx="3" presStyleCnt="8"/>
      <dgm:spPr/>
    </dgm:pt>
    <dgm:pt modelId="{8DCAC5A2-8F41-497D-A177-2923C437D9CE}" type="pres">
      <dgm:prSet presAssocID="{00D60F22-415B-4EA1-81AE-0A7A956D1D5F}" presName="connectorText" presStyleLbl="sibTrans2D1" presStyleIdx="3" presStyleCnt="8"/>
      <dgm:spPr/>
    </dgm:pt>
    <dgm:pt modelId="{226556DA-82C2-4CDD-B3E1-8DFE76F240C2}" type="pres">
      <dgm:prSet presAssocID="{DB27558E-D0B8-4632-85D8-12AC7C63B5CC}" presName="node" presStyleLbl="node1" presStyleIdx="4" presStyleCnt="9">
        <dgm:presLayoutVars>
          <dgm:bulletEnabled val="1"/>
        </dgm:presLayoutVars>
      </dgm:prSet>
      <dgm:spPr/>
    </dgm:pt>
    <dgm:pt modelId="{AA449183-1B84-4B49-BD09-25D6BC20EC6F}" type="pres">
      <dgm:prSet presAssocID="{EB803AAC-B0B1-40F7-86AD-B54F15D9D2C4}" presName="sibTrans" presStyleLbl="sibTrans2D1" presStyleIdx="4" presStyleCnt="8"/>
      <dgm:spPr/>
    </dgm:pt>
    <dgm:pt modelId="{0BC187A1-A4B6-41CE-ADCE-695AE0E18613}" type="pres">
      <dgm:prSet presAssocID="{EB803AAC-B0B1-40F7-86AD-B54F15D9D2C4}" presName="connectorText" presStyleLbl="sibTrans2D1" presStyleIdx="4" presStyleCnt="8"/>
      <dgm:spPr/>
    </dgm:pt>
    <dgm:pt modelId="{633241FE-9562-46EF-934E-3E18659F580E}" type="pres">
      <dgm:prSet presAssocID="{96A22741-5092-493E-99A5-496CC81BE230}" presName="node" presStyleLbl="node1" presStyleIdx="5" presStyleCnt="9">
        <dgm:presLayoutVars>
          <dgm:bulletEnabled val="1"/>
        </dgm:presLayoutVars>
      </dgm:prSet>
      <dgm:spPr/>
    </dgm:pt>
    <dgm:pt modelId="{8CF61CE1-A31E-4410-8886-62529E690C9A}" type="pres">
      <dgm:prSet presAssocID="{F2CAE4D2-BE59-430D-A60E-3C41EAD5AD70}" presName="sibTrans" presStyleLbl="sibTrans2D1" presStyleIdx="5" presStyleCnt="8"/>
      <dgm:spPr/>
    </dgm:pt>
    <dgm:pt modelId="{0F91AE38-57A6-467C-A94D-8DFD396843FC}" type="pres">
      <dgm:prSet presAssocID="{F2CAE4D2-BE59-430D-A60E-3C41EAD5AD70}" presName="connectorText" presStyleLbl="sibTrans2D1" presStyleIdx="5" presStyleCnt="8"/>
      <dgm:spPr/>
    </dgm:pt>
    <dgm:pt modelId="{8C0C0033-1E87-4641-98AC-07290BF2A599}" type="pres">
      <dgm:prSet presAssocID="{72F759BF-34EB-462D-BA48-778BE8B0E424}" presName="node" presStyleLbl="node1" presStyleIdx="6" presStyleCnt="9">
        <dgm:presLayoutVars>
          <dgm:bulletEnabled val="1"/>
        </dgm:presLayoutVars>
      </dgm:prSet>
      <dgm:spPr/>
    </dgm:pt>
    <dgm:pt modelId="{5E471EF6-4BCD-4E2A-8D50-406E8BF5C061}" type="pres">
      <dgm:prSet presAssocID="{B77C64DA-AC5C-4F24-AF92-9E0B2DF1BB1F}" presName="sibTrans" presStyleLbl="sibTrans2D1" presStyleIdx="6" presStyleCnt="8"/>
      <dgm:spPr/>
    </dgm:pt>
    <dgm:pt modelId="{3266120A-1966-4FB3-BAA9-B59B37C0B0CC}" type="pres">
      <dgm:prSet presAssocID="{B77C64DA-AC5C-4F24-AF92-9E0B2DF1BB1F}" presName="connectorText" presStyleLbl="sibTrans2D1" presStyleIdx="6" presStyleCnt="8"/>
      <dgm:spPr/>
    </dgm:pt>
    <dgm:pt modelId="{A9DCC54E-39C5-4FF2-82F3-760F3F6C0882}" type="pres">
      <dgm:prSet presAssocID="{2521D851-1DCE-4CC4-82D2-4A8DF2604468}" presName="node" presStyleLbl="node1" presStyleIdx="7" presStyleCnt="9">
        <dgm:presLayoutVars>
          <dgm:bulletEnabled val="1"/>
        </dgm:presLayoutVars>
      </dgm:prSet>
      <dgm:spPr/>
    </dgm:pt>
    <dgm:pt modelId="{382E368D-0040-4D66-87C1-1D137872A60D}" type="pres">
      <dgm:prSet presAssocID="{F74AE2D7-AEBC-42D5-8B17-105D2DF0BC3F}" presName="sibTrans" presStyleLbl="sibTrans2D1" presStyleIdx="7" presStyleCnt="8"/>
      <dgm:spPr/>
    </dgm:pt>
    <dgm:pt modelId="{B4790A89-0C81-4A2D-B6CE-94A4D057F04E}" type="pres">
      <dgm:prSet presAssocID="{F74AE2D7-AEBC-42D5-8B17-105D2DF0BC3F}" presName="connectorText" presStyleLbl="sibTrans2D1" presStyleIdx="7" presStyleCnt="8"/>
      <dgm:spPr/>
    </dgm:pt>
    <dgm:pt modelId="{B4C890E6-88CC-479E-A6AC-A8CCA953A1E6}" type="pres">
      <dgm:prSet presAssocID="{51F92E60-CCF5-411F-A32F-1828329E49AE}" presName="node" presStyleLbl="node1" presStyleIdx="8" presStyleCnt="9">
        <dgm:presLayoutVars>
          <dgm:bulletEnabled val="1"/>
        </dgm:presLayoutVars>
      </dgm:prSet>
      <dgm:spPr/>
    </dgm:pt>
  </dgm:ptLst>
  <dgm:cxnLst>
    <dgm:cxn modelId="{82470106-9A8A-40A1-ADE4-42E65DDB7C4F}" srcId="{F69C3A55-E1D2-4FB4-9324-4AC24690D739}" destId="{A2413C4E-9678-40B7-92E8-7EF4E3876BF4}" srcOrd="1" destOrd="0" parTransId="{F0717060-2855-4676-96A4-CC92F2DEB5F0}" sibTransId="{34438746-7DAA-41BE-BFA8-4236479D8067}"/>
    <dgm:cxn modelId="{968B8323-B114-460C-B811-04BFB1913E44}" type="presOf" srcId="{96A22741-5092-493E-99A5-496CC81BE230}" destId="{633241FE-9562-46EF-934E-3E18659F580E}" srcOrd="0" destOrd="0" presId="urn:microsoft.com/office/officeart/2005/8/layout/process1"/>
    <dgm:cxn modelId="{C1671036-61CE-4011-954E-236A2C8F31E4}" type="presOf" srcId="{DFC2E317-D787-4380-9B5F-5B39E1A94601}" destId="{69B51B4F-CD78-4D9C-B0B5-1FA1AA0E56E6}" srcOrd="0" destOrd="0" presId="urn:microsoft.com/office/officeart/2005/8/layout/process1"/>
    <dgm:cxn modelId="{DE9B6E3D-046A-4EC3-96DE-9AC7312CD99A}" srcId="{F69C3A55-E1D2-4FB4-9324-4AC24690D739}" destId="{72F759BF-34EB-462D-BA48-778BE8B0E424}" srcOrd="6" destOrd="0" parTransId="{4FA33F53-CFA7-4E25-A723-3361666B6A83}" sibTransId="{B77C64DA-AC5C-4F24-AF92-9E0B2DF1BB1F}"/>
    <dgm:cxn modelId="{E737215C-E9A0-4631-9276-85F98D1B2E8D}" type="presOf" srcId="{F69C3A55-E1D2-4FB4-9324-4AC24690D739}" destId="{5741EBA6-0D71-45E6-827A-BA07F7038235}" srcOrd="0" destOrd="0" presId="urn:microsoft.com/office/officeart/2005/8/layout/process1"/>
    <dgm:cxn modelId="{C2DE9441-5741-4D9D-9FC9-6B094EE8E8BE}" type="presOf" srcId="{0619FCA1-A9F7-4800-B61B-C344E38F6851}" destId="{904B8D78-C5DF-48D1-900C-5CB9A1EBBBA4}" srcOrd="1" destOrd="0" presId="urn:microsoft.com/office/officeart/2005/8/layout/process1"/>
    <dgm:cxn modelId="{ECD2BA63-D356-40D3-A218-04C97ECD2DD4}" type="presOf" srcId="{B77C64DA-AC5C-4F24-AF92-9E0B2DF1BB1F}" destId="{5E471EF6-4BCD-4E2A-8D50-406E8BF5C061}" srcOrd="0" destOrd="0" presId="urn:microsoft.com/office/officeart/2005/8/layout/process1"/>
    <dgm:cxn modelId="{60CFBD45-27E9-4AA1-B1A7-FD804631832C}" type="presOf" srcId="{51F92E60-CCF5-411F-A32F-1828329E49AE}" destId="{B4C890E6-88CC-479E-A6AC-A8CCA953A1E6}" srcOrd="0" destOrd="0" presId="urn:microsoft.com/office/officeart/2005/8/layout/process1"/>
    <dgm:cxn modelId="{65AEC769-8544-4235-8F0B-2BC234EF48BA}" type="presOf" srcId="{34438746-7DAA-41BE-BFA8-4236479D8067}" destId="{2304CCBF-B39A-414C-81EF-B263E8B29986}" srcOrd="0" destOrd="0" presId="urn:microsoft.com/office/officeart/2005/8/layout/process1"/>
    <dgm:cxn modelId="{D698124A-5C44-4C0F-9AF5-D902E535FAB9}" type="presOf" srcId="{DB27558E-D0B8-4632-85D8-12AC7C63B5CC}" destId="{226556DA-82C2-4CDD-B3E1-8DFE76F240C2}" srcOrd="0" destOrd="0" presId="urn:microsoft.com/office/officeart/2005/8/layout/process1"/>
    <dgm:cxn modelId="{EA57CC6C-6B75-44F9-97CC-CD35F339C5AA}" srcId="{F69C3A55-E1D2-4FB4-9324-4AC24690D739}" destId="{51F92E60-CCF5-411F-A32F-1828329E49AE}" srcOrd="8" destOrd="0" parTransId="{F56071F5-9092-41D0-A596-9FE7AAE9A788}" sibTransId="{6F4930D0-65D7-43A4-9CC4-5112F6E5E5E4}"/>
    <dgm:cxn modelId="{E8D1544E-97F8-4AE7-B089-C2FE40611E90}" srcId="{F69C3A55-E1D2-4FB4-9324-4AC24690D739}" destId="{96A22741-5092-493E-99A5-496CC81BE230}" srcOrd="5" destOrd="0" parTransId="{931915FC-55E0-4A62-BD2C-B4C3A057C123}" sibTransId="{F2CAE4D2-BE59-430D-A60E-3C41EAD5AD70}"/>
    <dgm:cxn modelId="{FD5A9250-42EB-4DBC-AFE8-7A9128398394}" type="presOf" srcId="{A2413C4E-9678-40B7-92E8-7EF4E3876BF4}" destId="{1DDFBC4D-80C6-4DCC-9048-80B45D1F593B}" srcOrd="0" destOrd="0" presId="urn:microsoft.com/office/officeart/2005/8/layout/process1"/>
    <dgm:cxn modelId="{4B3D6676-5053-49EA-9860-1FEF7606F92E}" type="presOf" srcId="{00D60F22-415B-4EA1-81AE-0A7A956D1D5F}" destId="{8DCAC5A2-8F41-497D-A177-2923C437D9CE}" srcOrd="1" destOrd="0" presId="urn:microsoft.com/office/officeart/2005/8/layout/process1"/>
    <dgm:cxn modelId="{F8439979-894F-44AC-A3CC-3B41D85AA4D8}" type="presOf" srcId="{2521D851-1DCE-4CC4-82D2-4A8DF2604468}" destId="{A9DCC54E-39C5-4FF2-82F3-760F3F6C0882}" srcOrd="0" destOrd="0" presId="urn:microsoft.com/office/officeart/2005/8/layout/process1"/>
    <dgm:cxn modelId="{1882089A-A544-4BB5-A7EF-65DAD2F31F3C}" type="presOf" srcId="{00D60F22-415B-4EA1-81AE-0A7A956D1D5F}" destId="{A507B630-2A4D-4DCA-92BB-788BA7F977D9}" srcOrd="0" destOrd="0" presId="urn:microsoft.com/office/officeart/2005/8/layout/process1"/>
    <dgm:cxn modelId="{4A0C2C9C-65EC-4942-A400-75BC6324D6B1}" type="presOf" srcId="{34438746-7DAA-41BE-BFA8-4236479D8067}" destId="{72F7AF3C-9632-4E8A-B903-1BF4DFEAF9BE}" srcOrd="1" destOrd="0" presId="urn:microsoft.com/office/officeart/2005/8/layout/process1"/>
    <dgm:cxn modelId="{BDC3AFA4-70BB-4C93-9AE6-DD06BD7709B3}" srcId="{F69C3A55-E1D2-4FB4-9324-4AC24690D739}" destId="{826C339D-54CA-4465-A618-980C668F2D42}" srcOrd="3" destOrd="0" parTransId="{E6477D50-16DB-4B26-8490-409CF76FCA9E}" sibTransId="{00D60F22-415B-4EA1-81AE-0A7A956D1D5F}"/>
    <dgm:cxn modelId="{038817A7-42AB-4D4F-8BF6-FEE53580326C}" type="presOf" srcId="{EB803AAC-B0B1-40F7-86AD-B54F15D9D2C4}" destId="{0BC187A1-A4B6-41CE-ADCE-695AE0E18613}" srcOrd="1" destOrd="0" presId="urn:microsoft.com/office/officeart/2005/8/layout/process1"/>
    <dgm:cxn modelId="{F13DC4AE-42CB-4442-81A3-2AB097E67708}" type="presOf" srcId="{F2CAE4D2-BE59-430D-A60E-3C41EAD5AD70}" destId="{0F91AE38-57A6-467C-A94D-8DFD396843FC}" srcOrd="1" destOrd="0" presId="urn:microsoft.com/office/officeart/2005/8/layout/process1"/>
    <dgm:cxn modelId="{613707B1-B1EF-442F-B6B5-0CDE5588E1C8}" type="presOf" srcId="{EB803AAC-B0B1-40F7-86AD-B54F15D9D2C4}" destId="{AA449183-1B84-4B49-BD09-25D6BC20EC6F}" srcOrd="0" destOrd="0" presId="urn:microsoft.com/office/officeart/2005/8/layout/process1"/>
    <dgm:cxn modelId="{E5EDD1B5-8A7A-4628-B271-4489C45983CD}" type="presOf" srcId="{B77C64DA-AC5C-4F24-AF92-9E0B2DF1BB1F}" destId="{3266120A-1966-4FB3-BAA9-B59B37C0B0CC}" srcOrd="1" destOrd="0" presId="urn:microsoft.com/office/officeart/2005/8/layout/process1"/>
    <dgm:cxn modelId="{937885C4-E01B-4EF7-AC94-059F456192AA}" type="presOf" srcId="{826C339D-54CA-4465-A618-980C668F2D42}" destId="{755DD5DB-22B9-4B9A-9312-EC126184B10A}" srcOrd="0" destOrd="0" presId="urn:microsoft.com/office/officeart/2005/8/layout/process1"/>
    <dgm:cxn modelId="{7AAF65CB-CD13-413F-A638-14EC3887E633}" type="presOf" srcId="{D322C049-878E-4310-A1E2-9B6CFE1B02C5}" destId="{DF82FD0C-0E3E-419E-B9E5-4F9CCF866C94}" srcOrd="0" destOrd="0" presId="urn:microsoft.com/office/officeart/2005/8/layout/process1"/>
    <dgm:cxn modelId="{7FB223D2-3602-45CC-A17D-C2D333929F16}" type="presOf" srcId="{F74AE2D7-AEBC-42D5-8B17-105D2DF0BC3F}" destId="{382E368D-0040-4D66-87C1-1D137872A60D}" srcOrd="0" destOrd="0" presId="urn:microsoft.com/office/officeart/2005/8/layout/process1"/>
    <dgm:cxn modelId="{183637E0-CDCF-4AEA-AAFD-14287F30FD95}" srcId="{F69C3A55-E1D2-4FB4-9324-4AC24690D739}" destId="{AD6A46B3-EF39-4B00-B0D6-DC27F295C375}" srcOrd="2" destOrd="0" parTransId="{5D2B4974-C79D-4344-B0AE-82905A8C464A}" sibTransId="{0619FCA1-A9F7-4800-B61B-C344E38F6851}"/>
    <dgm:cxn modelId="{9A84B8EA-B58A-4364-95C5-7DC368DF1403}" type="presOf" srcId="{AD6A46B3-EF39-4B00-B0D6-DC27F295C375}" destId="{26D51AC1-2275-48A7-AEAE-1F2E0B97A6DD}" srcOrd="0" destOrd="0" presId="urn:microsoft.com/office/officeart/2005/8/layout/process1"/>
    <dgm:cxn modelId="{F227E9EB-3E81-4C9D-ABB5-15E6E7458C91}" type="presOf" srcId="{0619FCA1-A9F7-4800-B61B-C344E38F6851}" destId="{F175538A-3D73-4DB8-BFB5-DEB5F18973C5}" srcOrd="0" destOrd="0" presId="urn:microsoft.com/office/officeart/2005/8/layout/process1"/>
    <dgm:cxn modelId="{550062F2-CD95-472C-9745-19F509803C00}" type="presOf" srcId="{72F759BF-34EB-462D-BA48-778BE8B0E424}" destId="{8C0C0033-1E87-4641-98AC-07290BF2A599}" srcOrd="0" destOrd="0" presId="urn:microsoft.com/office/officeart/2005/8/layout/process1"/>
    <dgm:cxn modelId="{910940F6-8DE5-4DE2-865E-9880A14B67FD}" srcId="{F69C3A55-E1D2-4FB4-9324-4AC24690D739}" destId="{2521D851-1DCE-4CC4-82D2-4A8DF2604468}" srcOrd="7" destOrd="0" parTransId="{AB9E9E9C-9518-4BB7-B773-559829CAAAA2}" sibTransId="{F74AE2D7-AEBC-42D5-8B17-105D2DF0BC3F}"/>
    <dgm:cxn modelId="{D33F8CF7-BC39-4B5D-B6EF-17EC59A2DEAA}" type="presOf" srcId="{DFC2E317-D787-4380-9B5F-5B39E1A94601}" destId="{37F2BF75-E2B4-4AB5-AC81-D4B4DE59DB38}" srcOrd="1" destOrd="0" presId="urn:microsoft.com/office/officeart/2005/8/layout/process1"/>
    <dgm:cxn modelId="{1155A4F7-E3BC-4B33-B3C3-7CA9161E172A}" type="presOf" srcId="{F2CAE4D2-BE59-430D-A60E-3C41EAD5AD70}" destId="{8CF61CE1-A31E-4410-8886-62529E690C9A}" srcOrd="0" destOrd="0" presId="urn:microsoft.com/office/officeart/2005/8/layout/process1"/>
    <dgm:cxn modelId="{9EE84CFA-871B-46D2-AA25-23AB84E45317}" type="presOf" srcId="{F74AE2D7-AEBC-42D5-8B17-105D2DF0BC3F}" destId="{B4790A89-0C81-4A2D-B6CE-94A4D057F04E}" srcOrd="1" destOrd="0" presId="urn:microsoft.com/office/officeart/2005/8/layout/process1"/>
    <dgm:cxn modelId="{B0ADF6FB-10DE-4C70-9A67-4F66F4B801A1}" srcId="{F69C3A55-E1D2-4FB4-9324-4AC24690D739}" destId="{DB27558E-D0B8-4632-85D8-12AC7C63B5CC}" srcOrd="4" destOrd="0" parTransId="{C9992E58-1C7B-42E4-AB63-C9294CDB263E}" sibTransId="{EB803AAC-B0B1-40F7-86AD-B54F15D9D2C4}"/>
    <dgm:cxn modelId="{E60A27FD-7030-4481-A568-F1088948F655}" srcId="{F69C3A55-E1D2-4FB4-9324-4AC24690D739}" destId="{D322C049-878E-4310-A1E2-9B6CFE1B02C5}" srcOrd="0" destOrd="0" parTransId="{29D86CB8-4C6C-43C8-8611-C9C51624810D}" sibTransId="{DFC2E317-D787-4380-9B5F-5B39E1A94601}"/>
    <dgm:cxn modelId="{BBD6FAFC-9EFA-404C-B06E-6751BDC04F4D}" type="presParOf" srcId="{5741EBA6-0D71-45E6-827A-BA07F7038235}" destId="{DF82FD0C-0E3E-419E-B9E5-4F9CCF866C94}" srcOrd="0" destOrd="0" presId="urn:microsoft.com/office/officeart/2005/8/layout/process1"/>
    <dgm:cxn modelId="{37A9756C-AA23-4DB3-A4DE-14CDE8F444BD}" type="presParOf" srcId="{5741EBA6-0D71-45E6-827A-BA07F7038235}" destId="{69B51B4F-CD78-4D9C-B0B5-1FA1AA0E56E6}" srcOrd="1" destOrd="0" presId="urn:microsoft.com/office/officeart/2005/8/layout/process1"/>
    <dgm:cxn modelId="{1746C06C-ADBF-4B83-A067-120F626EF493}" type="presParOf" srcId="{69B51B4F-CD78-4D9C-B0B5-1FA1AA0E56E6}" destId="{37F2BF75-E2B4-4AB5-AC81-D4B4DE59DB38}" srcOrd="0" destOrd="0" presId="urn:microsoft.com/office/officeart/2005/8/layout/process1"/>
    <dgm:cxn modelId="{4F085CFB-C181-41A6-98BC-83EE1BE64B73}" type="presParOf" srcId="{5741EBA6-0D71-45E6-827A-BA07F7038235}" destId="{1DDFBC4D-80C6-4DCC-9048-80B45D1F593B}" srcOrd="2" destOrd="0" presId="urn:microsoft.com/office/officeart/2005/8/layout/process1"/>
    <dgm:cxn modelId="{DC6BCB4A-E56A-4B8B-8C92-4C521F19AFF9}" type="presParOf" srcId="{5741EBA6-0D71-45E6-827A-BA07F7038235}" destId="{2304CCBF-B39A-414C-81EF-B263E8B29986}" srcOrd="3" destOrd="0" presId="urn:microsoft.com/office/officeart/2005/8/layout/process1"/>
    <dgm:cxn modelId="{1E39FD06-7E8A-4D5F-BE4F-7FC53A262F52}" type="presParOf" srcId="{2304CCBF-B39A-414C-81EF-B263E8B29986}" destId="{72F7AF3C-9632-4E8A-B903-1BF4DFEAF9BE}" srcOrd="0" destOrd="0" presId="urn:microsoft.com/office/officeart/2005/8/layout/process1"/>
    <dgm:cxn modelId="{32493A77-7294-4354-A397-DAFC2B25232B}" type="presParOf" srcId="{5741EBA6-0D71-45E6-827A-BA07F7038235}" destId="{26D51AC1-2275-48A7-AEAE-1F2E0B97A6DD}" srcOrd="4" destOrd="0" presId="urn:microsoft.com/office/officeart/2005/8/layout/process1"/>
    <dgm:cxn modelId="{4BA2E38F-5D43-4D90-8DA6-1667FB1A0CAE}" type="presParOf" srcId="{5741EBA6-0D71-45E6-827A-BA07F7038235}" destId="{F175538A-3D73-4DB8-BFB5-DEB5F18973C5}" srcOrd="5" destOrd="0" presId="urn:microsoft.com/office/officeart/2005/8/layout/process1"/>
    <dgm:cxn modelId="{D8520C84-CA35-48E4-9307-7E77EB0DE205}" type="presParOf" srcId="{F175538A-3D73-4DB8-BFB5-DEB5F18973C5}" destId="{904B8D78-C5DF-48D1-900C-5CB9A1EBBBA4}" srcOrd="0" destOrd="0" presId="urn:microsoft.com/office/officeart/2005/8/layout/process1"/>
    <dgm:cxn modelId="{B01EC3C9-5E32-4963-9636-50D665B6BCC3}" type="presParOf" srcId="{5741EBA6-0D71-45E6-827A-BA07F7038235}" destId="{755DD5DB-22B9-4B9A-9312-EC126184B10A}" srcOrd="6" destOrd="0" presId="urn:microsoft.com/office/officeart/2005/8/layout/process1"/>
    <dgm:cxn modelId="{ED0A7A4F-C0C8-4F41-965C-0C61D1770E41}" type="presParOf" srcId="{5741EBA6-0D71-45E6-827A-BA07F7038235}" destId="{A507B630-2A4D-4DCA-92BB-788BA7F977D9}" srcOrd="7" destOrd="0" presId="urn:microsoft.com/office/officeart/2005/8/layout/process1"/>
    <dgm:cxn modelId="{A26500F9-0B15-48D3-88A4-CB6F57BF45A2}" type="presParOf" srcId="{A507B630-2A4D-4DCA-92BB-788BA7F977D9}" destId="{8DCAC5A2-8F41-497D-A177-2923C437D9CE}" srcOrd="0" destOrd="0" presId="urn:microsoft.com/office/officeart/2005/8/layout/process1"/>
    <dgm:cxn modelId="{71B4BB3F-AECF-4635-A9ED-A2B3BC8C646E}" type="presParOf" srcId="{5741EBA6-0D71-45E6-827A-BA07F7038235}" destId="{226556DA-82C2-4CDD-B3E1-8DFE76F240C2}" srcOrd="8" destOrd="0" presId="urn:microsoft.com/office/officeart/2005/8/layout/process1"/>
    <dgm:cxn modelId="{D6F504EC-9ABB-4F34-8D35-5EFC05DA1AB1}" type="presParOf" srcId="{5741EBA6-0D71-45E6-827A-BA07F7038235}" destId="{AA449183-1B84-4B49-BD09-25D6BC20EC6F}" srcOrd="9" destOrd="0" presId="urn:microsoft.com/office/officeart/2005/8/layout/process1"/>
    <dgm:cxn modelId="{78B7BDE7-56E8-4581-89F2-0D7C75260D9B}" type="presParOf" srcId="{AA449183-1B84-4B49-BD09-25D6BC20EC6F}" destId="{0BC187A1-A4B6-41CE-ADCE-695AE0E18613}" srcOrd="0" destOrd="0" presId="urn:microsoft.com/office/officeart/2005/8/layout/process1"/>
    <dgm:cxn modelId="{3D3D731A-84A8-4A74-AE9A-A4FE3CABAD29}" type="presParOf" srcId="{5741EBA6-0D71-45E6-827A-BA07F7038235}" destId="{633241FE-9562-46EF-934E-3E18659F580E}" srcOrd="10" destOrd="0" presId="urn:microsoft.com/office/officeart/2005/8/layout/process1"/>
    <dgm:cxn modelId="{71FCB021-D143-47E5-A598-6B940D72B609}" type="presParOf" srcId="{5741EBA6-0D71-45E6-827A-BA07F7038235}" destId="{8CF61CE1-A31E-4410-8886-62529E690C9A}" srcOrd="11" destOrd="0" presId="urn:microsoft.com/office/officeart/2005/8/layout/process1"/>
    <dgm:cxn modelId="{2E0234BA-4AFA-4CDA-922E-583857495CF0}" type="presParOf" srcId="{8CF61CE1-A31E-4410-8886-62529E690C9A}" destId="{0F91AE38-57A6-467C-A94D-8DFD396843FC}" srcOrd="0" destOrd="0" presId="urn:microsoft.com/office/officeart/2005/8/layout/process1"/>
    <dgm:cxn modelId="{12FD818D-ED0A-409F-8632-64617C2DD11F}" type="presParOf" srcId="{5741EBA6-0D71-45E6-827A-BA07F7038235}" destId="{8C0C0033-1E87-4641-98AC-07290BF2A599}" srcOrd="12" destOrd="0" presId="urn:microsoft.com/office/officeart/2005/8/layout/process1"/>
    <dgm:cxn modelId="{1689D7C8-786B-460F-B13F-8F1B69C56701}" type="presParOf" srcId="{5741EBA6-0D71-45E6-827A-BA07F7038235}" destId="{5E471EF6-4BCD-4E2A-8D50-406E8BF5C061}" srcOrd="13" destOrd="0" presId="urn:microsoft.com/office/officeart/2005/8/layout/process1"/>
    <dgm:cxn modelId="{C4E088CE-ABD3-4FA7-B01D-76B373C8B006}" type="presParOf" srcId="{5E471EF6-4BCD-4E2A-8D50-406E8BF5C061}" destId="{3266120A-1966-4FB3-BAA9-B59B37C0B0CC}" srcOrd="0" destOrd="0" presId="urn:microsoft.com/office/officeart/2005/8/layout/process1"/>
    <dgm:cxn modelId="{A489A20E-A339-421C-A939-24736EEE14BF}" type="presParOf" srcId="{5741EBA6-0D71-45E6-827A-BA07F7038235}" destId="{A9DCC54E-39C5-4FF2-82F3-760F3F6C0882}" srcOrd="14" destOrd="0" presId="urn:microsoft.com/office/officeart/2005/8/layout/process1"/>
    <dgm:cxn modelId="{8A198971-3CD9-49AE-88C1-096FA0BE555B}" type="presParOf" srcId="{5741EBA6-0D71-45E6-827A-BA07F7038235}" destId="{382E368D-0040-4D66-87C1-1D137872A60D}" srcOrd="15" destOrd="0" presId="urn:microsoft.com/office/officeart/2005/8/layout/process1"/>
    <dgm:cxn modelId="{ABCFFBB2-9AB5-490D-A7ED-3E8750C3A566}" type="presParOf" srcId="{382E368D-0040-4D66-87C1-1D137872A60D}" destId="{B4790A89-0C81-4A2D-B6CE-94A4D057F04E}" srcOrd="0" destOrd="0" presId="urn:microsoft.com/office/officeart/2005/8/layout/process1"/>
    <dgm:cxn modelId="{6F50486D-93ED-4844-988E-B12CCE0A9D32}" type="presParOf" srcId="{5741EBA6-0D71-45E6-827A-BA07F7038235}" destId="{B4C890E6-88CC-479E-A6AC-A8CCA953A1E6}" srcOrd="1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82FD0C-0E3E-419E-B9E5-4F9CCF866C94}">
      <dsp:nvSpPr>
        <dsp:cNvPr id="0" name=""/>
        <dsp:cNvSpPr/>
      </dsp:nvSpPr>
      <dsp:spPr>
        <a:xfrm>
          <a:off x="3887" y="1920090"/>
          <a:ext cx="899553" cy="539731"/>
        </a:xfrm>
        <a:prstGeom prst="roundRect">
          <a:avLst>
            <a:gd name="adj" fmla="val 10000"/>
          </a:avLst>
        </a:prstGeom>
        <a:noFill/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 dirty="0"/>
        </a:p>
      </dsp:txBody>
      <dsp:txXfrm>
        <a:off x="19695" y="1935898"/>
        <a:ext cx="867937" cy="508115"/>
      </dsp:txXfrm>
    </dsp:sp>
    <dsp:sp modelId="{69B51B4F-CD78-4D9C-B0B5-1FA1AA0E56E6}">
      <dsp:nvSpPr>
        <dsp:cNvPr id="0" name=""/>
        <dsp:cNvSpPr/>
      </dsp:nvSpPr>
      <dsp:spPr>
        <a:xfrm>
          <a:off x="993396" y="2078411"/>
          <a:ext cx="190705" cy="22308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>
        <a:off x="993396" y="2123029"/>
        <a:ext cx="133494" cy="133853"/>
      </dsp:txXfrm>
    </dsp:sp>
    <dsp:sp modelId="{1DDFBC4D-80C6-4DCC-9048-80B45D1F593B}">
      <dsp:nvSpPr>
        <dsp:cNvPr id="0" name=""/>
        <dsp:cNvSpPr/>
      </dsp:nvSpPr>
      <dsp:spPr>
        <a:xfrm>
          <a:off x="1263262" y="1920090"/>
          <a:ext cx="899553" cy="539731"/>
        </a:xfrm>
        <a:prstGeom prst="roundRect">
          <a:avLst>
            <a:gd name="adj" fmla="val 10000"/>
          </a:avLst>
        </a:prstGeom>
        <a:noFill/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 dirty="0"/>
        </a:p>
      </dsp:txBody>
      <dsp:txXfrm>
        <a:off x="1279070" y="1935898"/>
        <a:ext cx="867937" cy="508115"/>
      </dsp:txXfrm>
    </dsp:sp>
    <dsp:sp modelId="{2304CCBF-B39A-414C-81EF-B263E8B29986}">
      <dsp:nvSpPr>
        <dsp:cNvPr id="0" name=""/>
        <dsp:cNvSpPr/>
      </dsp:nvSpPr>
      <dsp:spPr>
        <a:xfrm>
          <a:off x="2252770" y="2078411"/>
          <a:ext cx="190705" cy="22308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>
        <a:off x="2252770" y="2123029"/>
        <a:ext cx="133494" cy="133853"/>
      </dsp:txXfrm>
    </dsp:sp>
    <dsp:sp modelId="{26D51AC1-2275-48A7-AEAE-1F2E0B97A6DD}">
      <dsp:nvSpPr>
        <dsp:cNvPr id="0" name=""/>
        <dsp:cNvSpPr/>
      </dsp:nvSpPr>
      <dsp:spPr>
        <a:xfrm>
          <a:off x="2522636" y="1920090"/>
          <a:ext cx="899553" cy="539731"/>
        </a:xfrm>
        <a:prstGeom prst="roundRect">
          <a:avLst>
            <a:gd name="adj" fmla="val 10000"/>
          </a:avLst>
        </a:prstGeom>
        <a:noFill/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 dirty="0"/>
        </a:p>
      </dsp:txBody>
      <dsp:txXfrm>
        <a:off x="2538444" y="1935898"/>
        <a:ext cx="867937" cy="508115"/>
      </dsp:txXfrm>
    </dsp:sp>
    <dsp:sp modelId="{F175538A-3D73-4DB8-BFB5-DEB5F18973C5}">
      <dsp:nvSpPr>
        <dsp:cNvPr id="0" name=""/>
        <dsp:cNvSpPr/>
      </dsp:nvSpPr>
      <dsp:spPr>
        <a:xfrm>
          <a:off x="3512145" y="2078411"/>
          <a:ext cx="190705" cy="22308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>
        <a:off x="3512145" y="2123029"/>
        <a:ext cx="133494" cy="133853"/>
      </dsp:txXfrm>
    </dsp:sp>
    <dsp:sp modelId="{755DD5DB-22B9-4B9A-9312-EC126184B10A}">
      <dsp:nvSpPr>
        <dsp:cNvPr id="0" name=""/>
        <dsp:cNvSpPr/>
      </dsp:nvSpPr>
      <dsp:spPr>
        <a:xfrm>
          <a:off x="3782011" y="1920090"/>
          <a:ext cx="899553" cy="539731"/>
        </a:xfrm>
        <a:prstGeom prst="roundRect">
          <a:avLst>
            <a:gd name="adj" fmla="val 10000"/>
          </a:avLst>
        </a:prstGeom>
        <a:noFill/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 dirty="0"/>
        </a:p>
      </dsp:txBody>
      <dsp:txXfrm>
        <a:off x="3797819" y="1935898"/>
        <a:ext cx="867937" cy="508115"/>
      </dsp:txXfrm>
    </dsp:sp>
    <dsp:sp modelId="{A507B630-2A4D-4DCA-92BB-788BA7F977D9}">
      <dsp:nvSpPr>
        <dsp:cNvPr id="0" name=""/>
        <dsp:cNvSpPr/>
      </dsp:nvSpPr>
      <dsp:spPr>
        <a:xfrm>
          <a:off x="4771519" y="2078411"/>
          <a:ext cx="190705" cy="22308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>
        <a:off x="4771519" y="2123029"/>
        <a:ext cx="133494" cy="133853"/>
      </dsp:txXfrm>
    </dsp:sp>
    <dsp:sp modelId="{226556DA-82C2-4CDD-B3E1-8DFE76F240C2}">
      <dsp:nvSpPr>
        <dsp:cNvPr id="0" name=""/>
        <dsp:cNvSpPr/>
      </dsp:nvSpPr>
      <dsp:spPr>
        <a:xfrm>
          <a:off x="5041385" y="1920090"/>
          <a:ext cx="899553" cy="53973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 dirty="0"/>
        </a:p>
      </dsp:txBody>
      <dsp:txXfrm>
        <a:off x="5057193" y="1935898"/>
        <a:ext cx="867937" cy="508115"/>
      </dsp:txXfrm>
    </dsp:sp>
    <dsp:sp modelId="{AA449183-1B84-4B49-BD09-25D6BC20EC6F}">
      <dsp:nvSpPr>
        <dsp:cNvPr id="0" name=""/>
        <dsp:cNvSpPr/>
      </dsp:nvSpPr>
      <dsp:spPr>
        <a:xfrm>
          <a:off x="6030894" y="2078411"/>
          <a:ext cx="190705" cy="22308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>
        <a:off x="6030894" y="2123029"/>
        <a:ext cx="133494" cy="133853"/>
      </dsp:txXfrm>
    </dsp:sp>
    <dsp:sp modelId="{633241FE-9562-46EF-934E-3E18659F580E}">
      <dsp:nvSpPr>
        <dsp:cNvPr id="0" name=""/>
        <dsp:cNvSpPr/>
      </dsp:nvSpPr>
      <dsp:spPr>
        <a:xfrm>
          <a:off x="6300760" y="1920090"/>
          <a:ext cx="899553" cy="53973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 dirty="0"/>
        </a:p>
      </dsp:txBody>
      <dsp:txXfrm>
        <a:off x="6316568" y="1935898"/>
        <a:ext cx="867937" cy="508115"/>
      </dsp:txXfrm>
    </dsp:sp>
    <dsp:sp modelId="{8CF61CE1-A31E-4410-8886-62529E690C9A}">
      <dsp:nvSpPr>
        <dsp:cNvPr id="0" name=""/>
        <dsp:cNvSpPr/>
      </dsp:nvSpPr>
      <dsp:spPr>
        <a:xfrm>
          <a:off x="7290268" y="2078411"/>
          <a:ext cx="190705" cy="22308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>
        <a:off x="7290268" y="2123029"/>
        <a:ext cx="133494" cy="133853"/>
      </dsp:txXfrm>
    </dsp:sp>
    <dsp:sp modelId="{8C0C0033-1E87-4641-98AC-07290BF2A599}">
      <dsp:nvSpPr>
        <dsp:cNvPr id="0" name=""/>
        <dsp:cNvSpPr/>
      </dsp:nvSpPr>
      <dsp:spPr>
        <a:xfrm>
          <a:off x="7560134" y="1920090"/>
          <a:ext cx="899553" cy="53973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/>
        </a:p>
      </dsp:txBody>
      <dsp:txXfrm>
        <a:off x="7575942" y="1935898"/>
        <a:ext cx="867937" cy="508115"/>
      </dsp:txXfrm>
    </dsp:sp>
    <dsp:sp modelId="{5E471EF6-4BCD-4E2A-8D50-406E8BF5C061}">
      <dsp:nvSpPr>
        <dsp:cNvPr id="0" name=""/>
        <dsp:cNvSpPr/>
      </dsp:nvSpPr>
      <dsp:spPr>
        <a:xfrm>
          <a:off x="8549643" y="2078411"/>
          <a:ext cx="190705" cy="22308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>
        <a:off x="8549643" y="2123029"/>
        <a:ext cx="133494" cy="133853"/>
      </dsp:txXfrm>
    </dsp:sp>
    <dsp:sp modelId="{A9DCC54E-39C5-4FF2-82F3-760F3F6C0882}">
      <dsp:nvSpPr>
        <dsp:cNvPr id="0" name=""/>
        <dsp:cNvSpPr/>
      </dsp:nvSpPr>
      <dsp:spPr>
        <a:xfrm>
          <a:off x="8819509" y="1920090"/>
          <a:ext cx="899553" cy="53973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/>
        </a:p>
      </dsp:txBody>
      <dsp:txXfrm>
        <a:off x="8835317" y="1935898"/>
        <a:ext cx="867937" cy="508115"/>
      </dsp:txXfrm>
    </dsp:sp>
    <dsp:sp modelId="{382E368D-0040-4D66-87C1-1D137872A60D}">
      <dsp:nvSpPr>
        <dsp:cNvPr id="0" name=""/>
        <dsp:cNvSpPr/>
      </dsp:nvSpPr>
      <dsp:spPr>
        <a:xfrm>
          <a:off x="9809018" y="2078411"/>
          <a:ext cx="190705" cy="22308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>
        <a:off x="9809018" y="2123029"/>
        <a:ext cx="133494" cy="133853"/>
      </dsp:txXfrm>
    </dsp:sp>
    <dsp:sp modelId="{B4C890E6-88CC-479E-A6AC-A8CCA953A1E6}">
      <dsp:nvSpPr>
        <dsp:cNvPr id="0" name=""/>
        <dsp:cNvSpPr/>
      </dsp:nvSpPr>
      <dsp:spPr>
        <a:xfrm>
          <a:off x="10078883" y="1920090"/>
          <a:ext cx="899553" cy="53973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/>
        </a:p>
      </dsp:txBody>
      <dsp:txXfrm>
        <a:off x="10094691" y="1935898"/>
        <a:ext cx="867937" cy="5081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C5C72F-1E80-4EA6-9839-3B44082FD9F0}" type="datetimeFigureOut">
              <a:rPr lang="en-US" smtClean="0"/>
              <a:t>1/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5922D1-B872-40F0-ABD8-D66F3BAFD1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2422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D43C6-979E-4B3F-814A-5701E96E9E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56101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D43C6-979E-4B3F-814A-5701E96E9E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56336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6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23D4AC7-3164-E243-9F59-1C34696D51F0}"/>
              </a:ext>
            </a:extLst>
          </p:cNvPr>
          <p:cNvSpPr/>
          <p:nvPr/>
        </p:nvSpPr>
        <p:spPr bwMode="auto">
          <a:xfrm>
            <a:off x="0" y="5490812"/>
            <a:ext cx="12192000" cy="1367189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420977"/>
            <a:ext cx="10981267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833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2367251"/>
            <a:ext cx="8576108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17">
                <a:solidFill>
                  <a:srgbClr val="595959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652FF68-6996-5845-BD7E-061231E8F0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01323" y="3477281"/>
            <a:ext cx="6911505" cy="5340708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AD3C5A6-D6BE-1D49-8F0B-81255D7397F1}"/>
              </a:ext>
            </a:extLst>
          </p:cNvPr>
          <p:cNvSpPr txBox="1">
            <a:spLocks/>
          </p:cNvSpPr>
          <p:nvPr/>
        </p:nvSpPr>
        <p:spPr>
          <a:xfrm>
            <a:off x="6766656" y="5970257"/>
            <a:ext cx="4853049" cy="257257"/>
          </a:xfrm>
          <a:prstGeom prst="rect">
            <a:avLst/>
          </a:prstGeom>
        </p:spPr>
        <p:txBody>
          <a:bodyPr/>
          <a:lstStyle>
            <a:lvl1pPr marL="0" indent="0" algn="r" rtl="0" eaLnBrk="1" fontAlgn="base" hangingPunct="1">
              <a:lnSpc>
                <a:spcPct val="100000"/>
              </a:lnSpc>
              <a:spcBef>
                <a:spcPts val="216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defRPr sz="900" b="1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548640" indent="-2880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40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877824" indent="-241402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216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316736" indent="-241402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180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785557" indent="-229362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»"/>
              <a:defRPr sz="156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2131468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477111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822754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3168397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defTabSz="761940"/>
            <a:r>
              <a:rPr lang="en-US" sz="1667" kern="0"/>
              <a:t>CONSUMER HEALTH</a:t>
            </a:r>
          </a:p>
        </p:txBody>
      </p:sp>
    </p:spTree>
    <p:extLst>
      <p:ext uri="{BB962C8B-B14F-4D97-AF65-F5344CB8AC3E}">
        <p14:creationId xmlns:p14="http://schemas.microsoft.com/office/powerpoint/2010/main" val="27446177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ub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17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7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29" rtl="0" eaLnBrk="1" fontAlgn="auto" latinLnBrk="0" hangingPunct="1">
              <a:lnSpc>
                <a:spcPts val="66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833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219412594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7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29" rtl="0" eaLnBrk="1" fontAlgn="auto" latinLnBrk="0" hangingPunct="1">
              <a:lnSpc>
                <a:spcPts val="66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833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177552283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ub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17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7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29" rtl="0" eaLnBrk="1" fontAlgn="auto" latinLnBrk="0" hangingPunct="1">
              <a:lnSpc>
                <a:spcPts val="66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833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379915459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ne title,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713179"/>
            <a:ext cx="10981267" cy="4169410"/>
          </a:xfrm>
        </p:spPr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 marL="534437" indent="-236793">
              <a:tabLst/>
              <a:defRPr>
                <a:solidFill>
                  <a:srgbClr val="595959"/>
                </a:solidFill>
              </a:defRPr>
            </a:lvl2pPr>
            <a:lvl3pPr>
              <a:defRPr sz="1667">
                <a:solidFill>
                  <a:srgbClr val="595959"/>
                </a:solidFill>
              </a:defRPr>
            </a:lvl3pPr>
            <a:lvl4pPr>
              <a:defRPr sz="1333">
                <a:solidFill>
                  <a:srgbClr val="595959"/>
                </a:solidFill>
              </a:defRPr>
            </a:lvl4pPr>
            <a:lvl5pPr>
              <a:defRPr sz="1250"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8780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52" indent="0">
              <a:buNone/>
              <a:defRPr sz="1000"/>
            </a:lvl2pPr>
            <a:lvl3pPr marL="530309" indent="0">
              <a:buNone/>
              <a:defRPr sz="1000"/>
            </a:lvl3pPr>
            <a:lvl4pPr marL="896040" indent="0">
              <a:buNone/>
              <a:defRPr sz="1000"/>
            </a:lvl4pPr>
            <a:lvl5pPr marL="1296725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230AED-AFC0-E74A-AF9C-2800C57FF8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228" y="63313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C97C02C1-D16E-4689-AA05-77B7CCEFD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452036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05367" y="1713179"/>
            <a:ext cx="10981267" cy="4169410"/>
          </a:xfrm>
        </p:spPr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 marL="534437" indent="-236793">
              <a:tabLst/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7" y="378459"/>
            <a:ext cx="10981267" cy="5770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40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8780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52" indent="0">
              <a:buNone/>
              <a:defRPr sz="1000"/>
            </a:lvl2pPr>
            <a:lvl3pPr marL="530309" indent="0">
              <a:buNone/>
              <a:defRPr sz="1000"/>
            </a:lvl3pPr>
            <a:lvl4pPr marL="896040" indent="0">
              <a:buNone/>
              <a:defRPr sz="1000"/>
            </a:lvl4pPr>
            <a:lvl5pPr marL="1296725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D14C8AC-799B-E64C-8007-4BC75EB484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228" y="63313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C97C02C1-D16E-4689-AA05-77B7CCEFD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11351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header,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5367" y="1713178"/>
            <a:ext cx="10981267" cy="45550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917" b="1" dirty="0" smtClean="0">
                <a:solidFill>
                  <a:srgbClr val="000000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0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05367" y="2427290"/>
            <a:ext cx="10981267" cy="3455298"/>
          </a:xfrm>
        </p:spPr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 marL="534437" indent="-236793">
              <a:tabLst/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8780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52" indent="0">
              <a:buNone/>
              <a:defRPr sz="1000"/>
            </a:lvl2pPr>
            <a:lvl3pPr marL="530309" indent="0">
              <a:buNone/>
              <a:defRPr sz="1000"/>
            </a:lvl3pPr>
            <a:lvl4pPr marL="896040" indent="0">
              <a:buNone/>
              <a:defRPr sz="1000"/>
            </a:lvl4pPr>
            <a:lvl5pPr marL="1296725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5367" y="378459"/>
            <a:ext cx="10981267" cy="5770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40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113F07A-041D-9349-A5A4-409A0CA11A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228" y="63313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C97C02C1-D16E-4689-AA05-77B7CCEFD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23521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hart inf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5367" y="1713178"/>
            <a:ext cx="10981267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000" dirty="0" smtClean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0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8780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52" indent="0">
              <a:buNone/>
              <a:defRPr sz="1000"/>
            </a:lvl2pPr>
            <a:lvl3pPr marL="530309" indent="0">
              <a:buNone/>
              <a:defRPr sz="1000"/>
            </a:lvl3pPr>
            <a:lvl4pPr marL="896040" indent="0">
              <a:buNone/>
              <a:defRPr sz="1000"/>
            </a:lvl4pPr>
            <a:lvl5pPr marL="1296725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05367" y="378459"/>
            <a:ext cx="10981267" cy="5770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40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73D795F-8078-214A-A950-E8C76AD9DF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228" y="63313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C97C02C1-D16E-4689-AA05-77B7CCEFD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36829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LEFT HALF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05368" y="1712917"/>
            <a:ext cx="5401733" cy="4169673"/>
          </a:xfrm>
        </p:spPr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 marL="534437" indent="-236793">
              <a:tabLst/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/>
          </p:nvPr>
        </p:nvSpPr>
        <p:spPr>
          <a:xfrm>
            <a:off x="6185648" y="1712914"/>
            <a:ext cx="5401733" cy="4169675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Click to edit Master text styles</a:t>
            </a:r>
          </a:p>
          <a:p>
            <a:pPr lvl="1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8780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52" indent="0">
              <a:buNone/>
              <a:defRPr sz="1000"/>
            </a:lvl2pPr>
            <a:lvl3pPr marL="530309" indent="0">
              <a:buNone/>
              <a:defRPr sz="1000"/>
            </a:lvl3pPr>
            <a:lvl4pPr marL="896040" indent="0">
              <a:buNone/>
              <a:defRPr sz="1000"/>
            </a:lvl4pPr>
            <a:lvl5pPr marL="1296725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7" y="378459"/>
            <a:ext cx="10981267" cy="5770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40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FB79595-6611-6A43-802E-FB0E9A8266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228" y="63313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C97C02C1-D16E-4689-AA05-77B7CCEFD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412056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RIGHT 2/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601134" y="608780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52" indent="0">
              <a:buNone/>
              <a:defRPr sz="1000"/>
            </a:lvl2pPr>
            <a:lvl3pPr marL="530309" indent="0">
              <a:buNone/>
              <a:defRPr sz="1000"/>
            </a:lvl3pPr>
            <a:lvl4pPr marL="896040" indent="0">
              <a:buNone/>
              <a:defRPr sz="1000"/>
            </a:lvl4pPr>
            <a:lvl5pPr marL="1296725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7" name="Content Placeholder 11"/>
          <p:cNvSpPr>
            <a:spLocks noGrp="1"/>
          </p:cNvSpPr>
          <p:nvPr>
            <p:ph sz="quarter" idx="26"/>
          </p:nvPr>
        </p:nvSpPr>
        <p:spPr>
          <a:xfrm>
            <a:off x="4338918" y="1684692"/>
            <a:ext cx="7247715" cy="4197897"/>
          </a:xfrm>
        </p:spPr>
        <p:txBody>
          <a:bodyPr/>
          <a:lstStyle>
            <a:lvl1pPr marL="0" indent="0">
              <a:buNone/>
              <a:defRPr sz="25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7"/>
          </p:nvPr>
        </p:nvSpPr>
        <p:spPr>
          <a:xfrm>
            <a:off x="602401" y="1712917"/>
            <a:ext cx="3499908" cy="4169673"/>
          </a:xfrm>
        </p:spPr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 marL="534437" indent="-236793">
              <a:tabLst/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05367" y="378459"/>
            <a:ext cx="10981267" cy="5770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40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3AFA8C8-E376-BF42-92F8-5AB5A1042E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228" y="63313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C97C02C1-D16E-4689-AA05-77B7CCEFD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87846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lumns 1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1"/>
          <p:cNvSpPr>
            <a:spLocks noGrp="1"/>
          </p:cNvSpPr>
          <p:nvPr>
            <p:ph sz="quarter" idx="15"/>
          </p:nvPr>
        </p:nvSpPr>
        <p:spPr>
          <a:xfrm>
            <a:off x="4341285" y="1712914"/>
            <a:ext cx="3509433" cy="4169675"/>
          </a:xfrm>
          <a:noFill/>
        </p:spPr>
        <p:txBody>
          <a:bodyPr/>
          <a:lstStyle>
            <a:lvl1pPr marL="0" indent="0" algn="l">
              <a:buNone/>
              <a:defRPr sz="20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Click to edit Master text styles</a:t>
            </a:r>
          </a:p>
          <a:p>
            <a:pPr lvl="1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7" name="Content Placeholder 11"/>
          <p:cNvSpPr>
            <a:spLocks noGrp="1"/>
          </p:cNvSpPr>
          <p:nvPr>
            <p:ph sz="quarter" idx="16"/>
          </p:nvPr>
        </p:nvSpPr>
        <p:spPr>
          <a:xfrm>
            <a:off x="8077202" y="1712914"/>
            <a:ext cx="3509433" cy="4169675"/>
          </a:xfrm>
          <a:noFill/>
        </p:spPr>
        <p:txBody>
          <a:bodyPr anchor="t"/>
          <a:lstStyle>
            <a:lvl1pPr marL="0" indent="0" algn="l">
              <a:buNone/>
              <a:defRPr sz="20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Click to edit Master text styles</a:t>
            </a:r>
          </a:p>
          <a:p>
            <a:pPr lvl="1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8" name="Content Placeholder 11"/>
          <p:cNvSpPr>
            <a:spLocks noGrp="1"/>
          </p:cNvSpPr>
          <p:nvPr>
            <p:ph sz="quarter" idx="17"/>
          </p:nvPr>
        </p:nvSpPr>
        <p:spPr>
          <a:xfrm>
            <a:off x="605369" y="1712914"/>
            <a:ext cx="3509433" cy="4169675"/>
          </a:xfrm>
          <a:noFill/>
        </p:spPr>
        <p:txBody>
          <a:bodyPr/>
          <a:lstStyle>
            <a:lvl1pPr marL="0" indent="0" algn="l">
              <a:buNone/>
              <a:defRPr sz="20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Click to edit Master text styles</a:t>
            </a:r>
          </a:p>
          <a:p>
            <a:pPr lvl="1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601134" y="608780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52" indent="0">
              <a:buNone/>
              <a:defRPr sz="1000"/>
            </a:lvl2pPr>
            <a:lvl3pPr marL="530309" indent="0">
              <a:buNone/>
              <a:defRPr sz="1000"/>
            </a:lvl3pPr>
            <a:lvl4pPr marL="896040" indent="0">
              <a:buNone/>
              <a:defRPr sz="1000"/>
            </a:lvl4pPr>
            <a:lvl5pPr marL="1296725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7" y="378459"/>
            <a:ext cx="10981267" cy="5770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40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9F55216-2470-FF4D-B69A-2D23D4BD4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228" y="63313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C97C02C1-D16E-4689-AA05-77B7CCEFD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8385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2361503"/>
            <a:ext cx="10981267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833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4307777"/>
            <a:ext cx="8576108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17">
                <a:solidFill>
                  <a:srgbClr val="595959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77FBCB2-DBF1-7643-96DB-8082AEAD68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01323" y="-1932889"/>
            <a:ext cx="6911505" cy="5340708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464FCEE-0102-9D46-99E6-7CFE6B6C2E07}"/>
              </a:ext>
            </a:extLst>
          </p:cNvPr>
          <p:cNvSpPr txBox="1">
            <a:spLocks/>
          </p:cNvSpPr>
          <p:nvPr/>
        </p:nvSpPr>
        <p:spPr>
          <a:xfrm>
            <a:off x="605367" y="5970257"/>
            <a:ext cx="4853049" cy="257257"/>
          </a:xfrm>
          <a:prstGeom prst="rect">
            <a:avLst/>
          </a:prstGeom>
        </p:spPr>
        <p:txBody>
          <a:bodyPr lIns="0"/>
          <a:lstStyle>
            <a:lvl1pPr marL="0" indent="0" algn="r" rtl="0" eaLnBrk="1" fontAlgn="base" hangingPunct="1">
              <a:lnSpc>
                <a:spcPct val="100000"/>
              </a:lnSpc>
              <a:spcBef>
                <a:spcPts val="216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defRPr sz="900" b="1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548640" indent="-2880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40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877824" indent="-241402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216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316736" indent="-241402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180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785557" indent="-229362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»"/>
              <a:defRPr sz="156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2131468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477111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822754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3168397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algn="l" defTabSz="761940"/>
            <a:r>
              <a:rPr lang="en-US" sz="1667" kern="0"/>
              <a:t>CONSUMER HEALTH</a:t>
            </a:r>
          </a:p>
        </p:txBody>
      </p:sp>
    </p:spTree>
    <p:extLst>
      <p:ext uri="{BB962C8B-B14F-4D97-AF65-F5344CB8AC3E}">
        <p14:creationId xmlns:p14="http://schemas.microsoft.com/office/powerpoint/2010/main" val="3832206234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lumns 1x3 wht hea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1"/>
          <p:cNvSpPr>
            <a:spLocks noGrp="1"/>
          </p:cNvSpPr>
          <p:nvPr>
            <p:ph sz="quarter" idx="15"/>
          </p:nvPr>
        </p:nvSpPr>
        <p:spPr>
          <a:xfrm>
            <a:off x="4341285" y="2217541"/>
            <a:ext cx="3509433" cy="3665048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91275" indent="0">
              <a:buNone/>
              <a:defRPr sz="1667"/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Click to edit Master text styles</a:t>
            </a:r>
          </a:p>
          <a:p>
            <a:pPr lvl="1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7" name="Content Placeholder 11"/>
          <p:cNvSpPr>
            <a:spLocks noGrp="1"/>
          </p:cNvSpPr>
          <p:nvPr>
            <p:ph sz="quarter" idx="16"/>
          </p:nvPr>
        </p:nvSpPr>
        <p:spPr>
          <a:xfrm>
            <a:off x="8077202" y="2217541"/>
            <a:ext cx="3509433" cy="3665048"/>
          </a:xfrm>
          <a:solidFill>
            <a:schemeClr val="bg1"/>
          </a:solidFill>
          <a:ln>
            <a:noFill/>
          </a:ln>
        </p:spPr>
        <p:txBody>
          <a:bodyPr anchor="t"/>
          <a:lstStyle>
            <a:lvl1pPr marL="91275" indent="0">
              <a:buNone/>
              <a:defRPr sz="1667"/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Click to edit Master text styles</a:t>
            </a:r>
          </a:p>
          <a:p>
            <a:pPr lvl="1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8" name="Content Placeholder 11"/>
          <p:cNvSpPr>
            <a:spLocks noGrp="1"/>
          </p:cNvSpPr>
          <p:nvPr>
            <p:ph sz="quarter" idx="17"/>
          </p:nvPr>
        </p:nvSpPr>
        <p:spPr>
          <a:xfrm>
            <a:off x="605369" y="2217541"/>
            <a:ext cx="3509433" cy="3665048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91275" indent="0">
              <a:buNone/>
              <a:defRPr sz="1667"/>
            </a:lvl1pPr>
            <a:lvl2pPr>
              <a:defRPr sz="1667"/>
            </a:lvl2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Click to edit Master text styles</a:t>
            </a:r>
          </a:p>
          <a:p>
            <a:pPr lvl="1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lvl="2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lvl="3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lvl="4" algn="ctr" defTabSz="914327">
              <a:spcBef>
                <a:spcPct val="0"/>
              </a:spcBef>
            </a:pPr>
            <a:r>
              <a:rPr lang="en-US" sz="2000">
                <a:solidFill>
                  <a:schemeClr val="tx2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601134" y="608780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52" indent="0">
              <a:buNone/>
              <a:defRPr sz="1000"/>
            </a:lvl2pPr>
            <a:lvl3pPr marL="530309" indent="0">
              <a:buNone/>
              <a:defRPr sz="1000"/>
            </a:lvl3pPr>
            <a:lvl4pPr marL="896040" indent="0">
              <a:buNone/>
              <a:defRPr sz="1000"/>
            </a:lvl4pPr>
            <a:lvl5pPr marL="1296725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7" y="378459"/>
            <a:ext cx="10981267" cy="5770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40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4751" y="1680827"/>
            <a:ext cx="3508199" cy="433917"/>
          </a:xfrm>
          <a:solidFill>
            <a:srgbClr val="FFFFFF"/>
          </a:solidFill>
        </p:spPr>
        <p:txBody>
          <a:bodyPr anchor="ctr"/>
          <a:lstStyle>
            <a:lvl1pPr marL="91275" indent="0">
              <a:buNone/>
              <a:defRPr sz="1667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344118" y="1680827"/>
            <a:ext cx="3508199" cy="433917"/>
          </a:xfrm>
          <a:solidFill>
            <a:srgbClr val="FFFFFF"/>
          </a:solidFill>
        </p:spPr>
        <p:txBody>
          <a:bodyPr anchor="ctr"/>
          <a:lstStyle>
            <a:lvl1pPr marL="91275" indent="0">
              <a:buNone/>
              <a:defRPr sz="1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8073406" y="1680827"/>
            <a:ext cx="3517625" cy="433917"/>
          </a:xfrm>
          <a:solidFill>
            <a:srgbClr val="FFFFFF"/>
          </a:solidFill>
        </p:spPr>
        <p:txBody>
          <a:bodyPr anchor="ctr"/>
          <a:lstStyle>
            <a:lvl1pPr marL="91275" indent="0">
              <a:buNone/>
              <a:defRPr sz="1667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CD30169-9743-D741-A873-6AB7B658B4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228" y="63313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C97C02C1-D16E-4689-AA05-77B7CCEFD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59422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,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7" y="378459"/>
            <a:ext cx="10981267" cy="5770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40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8780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52" indent="0">
              <a:buNone/>
              <a:defRPr sz="1000"/>
            </a:lvl2pPr>
            <a:lvl3pPr marL="530309" indent="0">
              <a:buNone/>
              <a:defRPr sz="1000"/>
            </a:lvl3pPr>
            <a:lvl4pPr marL="896040" indent="0">
              <a:buNone/>
              <a:defRPr sz="1000"/>
            </a:lvl4pPr>
            <a:lvl5pPr marL="1296725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D14C8AC-799B-E64C-8007-4BC75EB484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228" y="63313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C97C02C1-D16E-4689-AA05-77B7CCEFD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5948186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, sub,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7" y="378459"/>
            <a:ext cx="10981267" cy="5770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D14C8AC-799B-E64C-8007-4BC75EB484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228" y="63313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C97C02C1-D16E-4689-AA05-77B7CCEFD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413240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, sub,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D14C8AC-799B-E64C-8007-4BC75EB484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228" y="63313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C97C02C1-D16E-4689-AA05-77B7CCEFD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74062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icture,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Full Bleed Image</a:t>
            </a:r>
          </a:p>
          <a:p>
            <a:endParaRPr lang="en-US"/>
          </a:p>
          <a:p>
            <a:r>
              <a:rPr lang="en-US"/>
              <a:t>No Copy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71" y="5694564"/>
            <a:ext cx="10981265" cy="39826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89611" numCol="1" anchor="b" anchorCtr="0" compatLnSpc="1">
            <a:prstTxWarp prst="textNoShape">
              <a:avLst/>
            </a:prstTxWarp>
            <a:spAutoFit/>
          </a:bodyPr>
          <a:lstStyle>
            <a:lvl1pPr marL="0" indent="0"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000" dirty="0" smtClean="0">
                <a:solidFill>
                  <a:schemeClr val="bg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 algn="r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None/>
              <a:defRPr lang="en-US" sz="14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605371" y="6055668"/>
            <a:ext cx="10981265" cy="230832"/>
          </a:xfrm>
        </p:spPr>
        <p:txBody>
          <a:bodyPr wrap="square" anchor="b" anchorCtr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6635" y="63329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C97C02C1-D16E-4689-AA05-77B7CCEFD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43229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icture, capti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Full Bleed Image</a:t>
            </a:r>
          </a:p>
          <a:p>
            <a:endParaRPr lang="en-US"/>
          </a:p>
          <a:p>
            <a:r>
              <a:rPr lang="en-US"/>
              <a:t>No Copy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5694564"/>
            <a:ext cx="10981267" cy="39826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89611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000" dirty="0" smtClean="0">
                <a:solidFill>
                  <a:schemeClr val="bg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 algn="r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None/>
              <a:defRPr lang="en-US" sz="14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605340" y="6055668"/>
            <a:ext cx="10981293" cy="23083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6635" y="63329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C97C02C1-D16E-4689-AA05-77B7CCEFD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337593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6635" y="63329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C97C02C1-D16E-4689-AA05-77B7CCEFD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63153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or statement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897945"/>
            <a:ext cx="10981267" cy="1709870"/>
          </a:xfrm>
        </p:spPr>
        <p:txBody>
          <a:bodyPr anchor="ctr"/>
          <a:lstStyle>
            <a:lvl1pPr marL="388906" indent="-388906" algn="l">
              <a:lnSpc>
                <a:spcPts val="6666"/>
              </a:lnSpc>
              <a:tabLst/>
              <a:defRPr sz="58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ts val="6666"/>
              </a:lnSpc>
              <a:spcBef>
                <a:spcPts val="0"/>
              </a:spcBef>
              <a:buNone/>
              <a:defRPr sz="5833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</p:spTree>
    <p:extLst>
      <p:ext uri="{BB962C8B-B14F-4D97-AF65-F5344CB8AC3E}">
        <p14:creationId xmlns:p14="http://schemas.microsoft.com/office/powerpoint/2010/main" val="253311826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or statemen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897945"/>
            <a:ext cx="10981267" cy="1709870"/>
          </a:xfrm>
        </p:spPr>
        <p:txBody>
          <a:bodyPr anchor="ctr"/>
          <a:lstStyle>
            <a:lvl1pPr marL="388906" indent="-388906" algn="l">
              <a:lnSpc>
                <a:spcPts val="6666"/>
              </a:lnSpc>
              <a:tabLst/>
              <a:defRPr sz="58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ts val="6666"/>
              </a:lnSpc>
              <a:spcBef>
                <a:spcPts val="0"/>
              </a:spcBef>
              <a:buNone/>
              <a:defRPr sz="5833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</p:spTree>
    <p:extLst>
      <p:ext uri="{BB962C8B-B14F-4D97-AF65-F5344CB8AC3E}">
        <p14:creationId xmlns:p14="http://schemas.microsoft.com/office/powerpoint/2010/main" val="4271607508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or statement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897945"/>
            <a:ext cx="10981267" cy="1709870"/>
          </a:xfrm>
        </p:spPr>
        <p:txBody>
          <a:bodyPr anchor="ctr"/>
          <a:lstStyle>
            <a:lvl1pPr marL="388906" indent="-388906" algn="l">
              <a:lnSpc>
                <a:spcPts val="6666"/>
              </a:lnSpc>
              <a:tabLst/>
              <a:defRPr sz="58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ts val="6666"/>
              </a:lnSpc>
              <a:spcBef>
                <a:spcPts val="0"/>
              </a:spcBef>
              <a:buNone/>
              <a:defRPr sz="5833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</p:spTree>
    <p:extLst>
      <p:ext uri="{BB962C8B-B14F-4D97-AF65-F5344CB8AC3E}">
        <p14:creationId xmlns:p14="http://schemas.microsoft.com/office/powerpoint/2010/main" val="256830080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resentation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5490812"/>
            <a:ext cx="12192000" cy="1367189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703046"/>
            <a:ext cx="10981267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833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2649320"/>
            <a:ext cx="8576108" cy="76233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17">
                <a:solidFill>
                  <a:srgbClr val="595959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0C3A051-846E-7645-89C3-46B4ECEC09C3}"/>
              </a:ext>
            </a:extLst>
          </p:cNvPr>
          <p:cNvSpPr/>
          <p:nvPr/>
        </p:nvSpPr>
        <p:spPr bwMode="auto">
          <a:xfrm>
            <a:off x="0" y="5490812"/>
            <a:ext cx="12192000" cy="1367189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C0B884-F01A-9045-9BC4-C1F4EE18A2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01323" y="3477281"/>
            <a:ext cx="6911505" cy="5340708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27064DF-C162-1E40-AA9E-25B02EE15F82}"/>
              </a:ext>
            </a:extLst>
          </p:cNvPr>
          <p:cNvSpPr txBox="1">
            <a:spLocks/>
          </p:cNvSpPr>
          <p:nvPr/>
        </p:nvSpPr>
        <p:spPr>
          <a:xfrm>
            <a:off x="6766656" y="5970257"/>
            <a:ext cx="4853049" cy="257257"/>
          </a:xfrm>
          <a:prstGeom prst="rect">
            <a:avLst/>
          </a:prstGeom>
        </p:spPr>
        <p:txBody>
          <a:bodyPr/>
          <a:lstStyle>
            <a:lvl1pPr marL="0" indent="0" algn="r" rtl="0" eaLnBrk="1" fontAlgn="base" hangingPunct="1">
              <a:lnSpc>
                <a:spcPct val="100000"/>
              </a:lnSpc>
              <a:spcBef>
                <a:spcPts val="216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defRPr sz="900" b="1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548640" indent="-2880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40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877824" indent="-241402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216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316736" indent="-241402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180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785557" indent="-229362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»"/>
              <a:defRPr sz="156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2131468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477111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822754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3168397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defTabSz="761940"/>
            <a:r>
              <a:rPr lang="en-US" sz="1667" kern="0"/>
              <a:t>CONSUMER HEALTH</a:t>
            </a:r>
          </a:p>
        </p:txBody>
      </p:sp>
    </p:spTree>
    <p:extLst>
      <p:ext uri="{BB962C8B-B14F-4D97-AF65-F5344CB8AC3E}">
        <p14:creationId xmlns:p14="http://schemas.microsoft.com/office/powerpoint/2010/main" val="1937593274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J&amp;J Signa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19D9EE9-55DD-1A48-94DF-6C66B1A87C2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9663" y="2979504"/>
            <a:ext cx="4409660" cy="1244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60906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09B587-C659-4664-A312-11CE1B711B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5C86B-B181-407F-BBF6-27259565D0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AD7446-99D7-4E58-8D81-F533C872A5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DDCCFF-D9DF-4AF6-80E4-2B098D2F49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9AEB7D-5F27-477E-8E14-F9544ECB97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7C02C1-D16E-4689-AA05-77B7CCEFD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2419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,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577081"/>
          </a:xfrm>
        </p:spPr>
        <p:txBody>
          <a:bodyPr/>
          <a:lstStyle>
            <a:lvl1pPr>
              <a:defRPr sz="3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5"/>
          </p:nvPr>
        </p:nvSpPr>
        <p:spPr>
          <a:xfrm>
            <a:off x="601601" y="1713178"/>
            <a:ext cx="10985780" cy="4193910"/>
          </a:xfrm>
        </p:spPr>
        <p:txBody>
          <a:bodyPr/>
          <a:lstStyle>
            <a:lvl1pPr marL="0" marR="0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/>
            </a:lvl1pPr>
          </a:lstStyle>
          <a:p>
            <a:pPr marL="0" marR="0" lvl="0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Click to edit Master text styles</a:t>
            </a:r>
          </a:p>
          <a:p>
            <a:pPr marL="0" marR="0" lvl="1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marL="0" marR="0" lvl="2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marL="0" marR="0" lvl="3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marL="0" marR="0" lvl="4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6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9361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6635" y="63329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FF0000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39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26A219A-DF75-42F7-8F76-9D4B2470F59B}"/>
              </a:ext>
            </a:extLst>
          </p:cNvPr>
          <p:cNvSpPr/>
          <p:nvPr/>
        </p:nvSpPr>
        <p:spPr bwMode="auto">
          <a:xfrm>
            <a:off x="9407408" y="6331352"/>
            <a:ext cx="2179227" cy="3333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8100" rIns="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33" b="1">
                <a:solidFill>
                  <a:srgbClr val="595959"/>
                </a:solidFill>
              </a:rPr>
              <a:t>Consumer – Digital Transformation Office</a:t>
            </a:r>
            <a:endParaRPr kumimoji="0" lang="en-US" sz="833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3811657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9154362-E11A-4A42-8A93-DEB7006D445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7C02C1-D16E-4689-AA05-77B7CCEFD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2419471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7512" y="428625"/>
            <a:ext cx="11355387" cy="828675"/>
          </a:xfrm>
        </p:spPr>
        <p:txBody>
          <a:bodyPr anchor="ctr" anchorCtr="0"/>
          <a:lstStyle>
            <a:lvl1pPr>
              <a:defRPr sz="2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05" r="2972"/>
          <a:stretch/>
        </p:blipFill>
        <p:spPr>
          <a:xfrm>
            <a:off x="7516339" y="-1"/>
            <a:ext cx="4675661" cy="147849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97" b="33153"/>
          <a:stretch/>
        </p:blipFill>
        <p:spPr>
          <a:xfrm>
            <a:off x="-1" y="5257076"/>
            <a:ext cx="5122147" cy="116341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C4321D7-DC39-4DDF-8090-A055953BD4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836403-DE07-4E35-BA79-5279A51D1EE8}" type="datetime1">
              <a:rPr lang="en-US" smtClean="0"/>
              <a:t>1/7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4AC95C3-9F48-4E07-85CA-E5FC0AC1C6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98FF2A-9E71-4B1F-A148-765FB580E5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84BC-0940-4770-80BB-BD24EF3CE7F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BA23203-6A9D-4BFF-89DF-4D08FC05C03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376519" y="1257299"/>
            <a:ext cx="11473629" cy="497317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959026"/>
      </p:ext>
    </p:extLst>
  </p:cSld>
  <p:clrMapOvr>
    <a:masterClrMapping/>
  </p:clrMapOvr>
  <p:transition>
    <p:fade/>
  </p:transition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92988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923693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EF0397-B232-48AA-BF22-CC1174C6E5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16CFFF-B8FC-4572-B9DB-97E90D79BC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15EA5A-12A6-4CD1-AD8D-44F5E0E825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1ECA8E-7C2C-4034-A229-E88977FFB8AD}" type="datetimeFigureOut">
              <a:rPr lang="en-US" smtClean="0"/>
              <a:t>1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65A107-1982-40AB-A27D-9BF19ECDE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A57DE9-FB30-49FA-A674-019253455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F8E93A-FFB9-4AD9-A182-9989529C9C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77057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5366" y="378458"/>
            <a:ext cx="10981268" cy="410369"/>
          </a:xfrm>
        </p:spPr>
        <p:txBody>
          <a:bodyPr/>
          <a:lstStyle>
            <a:lvl1pPr>
              <a:defRPr sz="2667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5"/>
          </p:nvPr>
        </p:nvSpPr>
        <p:spPr>
          <a:xfrm>
            <a:off x="601601" y="1713178"/>
            <a:ext cx="10985780" cy="4193910"/>
          </a:xfrm>
        </p:spPr>
        <p:txBody>
          <a:bodyPr/>
          <a:lstStyle>
            <a:lvl1pPr marL="0" marR="0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/>
            </a:lvl1pPr>
          </a:lstStyle>
          <a:p>
            <a:pPr marL="0" marR="0" lvl="0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Click to edit Master text styles</a:t>
            </a:r>
          </a:p>
          <a:p>
            <a:pPr marL="0" marR="0" lvl="1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marL="0" marR="0" lvl="2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marL="0" marR="0" lvl="3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marL="0" marR="0" lvl="4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6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9361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6635" y="63329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FF0000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47139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er Journe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7F20856-C2CE-5141-AA55-71B36945A01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0611" y="1251284"/>
            <a:ext cx="1080700" cy="1080419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ctr">
              <a:defRPr sz="8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20187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7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29" rtl="0" eaLnBrk="1" fontAlgn="auto" latinLnBrk="0" hangingPunct="1">
              <a:lnSpc>
                <a:spcPts val="66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833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87060B3-9157-E444-A216-2DB0E4FCD7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228" y="63313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C97C02C1-D16E-4689-AA05-77B7CCEFD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709221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7513" y="1333499"/>
            <a:ext cx="5576887" cy="4792665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33499"/>
            <a:ext cx="5575300" cy="4792665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470154-844F-4A2A-81CD-0EF77C987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12" y="428626"/>
            <a:ext cx="11355387" cy="5770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6DA05B1-16AF-464F-A03A-BFB3D9762D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DC84B-A31B-4F97-AA68-0D191578E886}" type="datetime1">
              <a:rPr lang="en-US" smtClean="0"/>
              <a:t>1/7/2022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9C1A8C0-76E8-480E-B79B-B6035AB666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87F823-7B16-44E8-A7D1-FF1768AC15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84BC-0940-4770-80BB-BD24EF3CE7F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7C72E7E2-C839-47DA-BE7A-F9F017AE03A7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376520" y="1257300"/>
            <a:ext cx="11473629" cy="4973171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1980235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 - Source Notes - Log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5367" y="378459"/>
            <a:ext cx="10145760" cy="553998"/>
          </a:xfrm>
        </p:spPr>
        <p:txBody>
          <a:bodyPr/>
          <a:lstStyle>
            <a:lvl1pPr>
              <a:defRPr sz="3600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104901"/>
            <a:ext cx="11582400" cy="4632324"/>
          </a:xfrm>
        </p:spPr>
        <p:txBody>
          <a:bodyPr/>
          <a:lstStyle>
            <a:lvl1pPr>
              <a:spcBef>
                <a:spcPts val="1200"/>
              </a:spcBef>
              <a:defRPr sz="2200"/>
            </a:lvl1pPr>
            <a:lvl2pPr>
              <a:spcBef>
                <a:spcPts val="1200"/>
              </a:spcBef>
              <a:defRPr sz="2000"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 sz="1600"/>
            </a:lvl4pPr>
            <a:lvl5pPr>
              <a:spcBef>
                <a:spcPts val="12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304800" y="5835876"/>
            <a:ext cx="11582400" cy="447675"/>
          </a:xfrm>
        </p:spPr>
        <p:txBody>
          <a:bodyPr t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chemeClr val="accent4"/>
                </a:solidFill>
              </a:defRPr>
            </a:lvl1pPr>
            <a:lvl2pPr marL="274277" indent="0">
              <a:spcBef>
                <a:spcPts val="0"/>
              </a:spcBef>
              <a:buNone/>
              <a:defRPr sz="800"/>
            </a:lvl2pPr>
            <a:lvl3pPr marL="548554" indent="0">
              <a:spcBef>
                <a:spcPts val="0"/>
              </a:spcBef>
              <a:buNone/>
              <a:defRPr sz="800"/>
            </a:lvl3pPr>
            <a:lvl4pPr marL="822831" indent="0">
              <a:spcBef>
                <a:spcPts val="0"/>
              </a:spcBef>
              <a:buNone/>
              <a:defRPr sz="800"/>
            </a:lvl4pPr>
            <a:lvl5pPr marL="1097107" indent="0"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9494429"/>
      </p:ext>
    </p:extLst>
  </p:cSld>
  <p:clrMapOvr>
    <a:masterClrMapping/>
  </p:clrMapOvr>
  <p:transition spd="med">
    <p:fade/>
  </p:transition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4" imgW="720" imgH="724" progId="TCLayout.ActiveDocument.1">
                  <p:embed/>
                </p:oleObj>
              </mc:Choice>
              <mc:Fallback>
                <p:oleObj name="think-cell Slide" r:id="rId4" imgW="720" imgH="72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8933" y="211279"/>
            <a:ext cx="10574867" cy="662783"/>
          </a:xfrm>
        </p:spPr>
        <p:txBody>
          <a:bodyPr lIns="0" tIns="0" rIns="0" bIns="0">
            <a:normAutofit/>
          </a:bodyPr>
          <a:lstStyle>
            <a:lvl1pPr>
              <a:defRPr sz="2133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 vert="horz" lIns="0" tIns="45720" rIns="91440" bIns="45720" rtlCol="0" anchor="ctr"/>
          <a:lstStyle>
            <a:lvl1pPr>
              <a:defRPr lang="en-US" smtClean="0"/>
            </a:lvl1pPr>
          </a:lstStyle>
          <a:p>
            <a:fld id="{87318F27-6A8C-4CA9-BC0E-623881D6E7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597240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: Red">
    <p:bg>
      <p:bgPr>
        <a:solidFill>
          <a:srgbClr val="F306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1426465"/>
            <a:ext cx="10974918" cy="2058986"/>
          </a:xfrm>
        </p:spPr>
        <p:txBody>
          <a:bodyPr/>
          <a:lstStyle>
            <a:lvl1pPr>
              <a:lnSpc>
                <a:spcPts val="7976"/>
              </a:lnSpc>
              <a:defRPr sz="7166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/>
          </p:nvPr>
        </p:nvSpPr>
        <p:spPr>
          <a:xfrm>
            <a:off x="609600" y="5363150"/>
            <a:ext cx="10974918" cy="813816"/>
          </a:xfrm>
        </p:spPr>
        <p:txBody>
          <a:bodyPr anchor="t"/>
          <a:lstStyle>
            <a:lvl1pPr>
              <a:defRPr sz="2417" b="0" i="0">
                <a:solidFill>
                  <a:srgbClr val="FFFFFF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2520893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, sub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29" y="1477992"/>
            <a:ext cx="11049000" cy="419232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583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41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79529" y="719983"/>
            <a:ext cx="11049000" cy="384721"/>
          </a:xfrm>
        </p:spPr>
        <p:txBody>
          <a:bodyPr lIns="0" tIns="0" rIns="0" bIns="0"/>
          <a:lstStyle>
            <a:lvl1pPr marL="0" indent="0">
              <a:buNone/>
              <a:defRPr sz="2583"/>
            </a:lvl1pPr>
            <a:lvl2pPr>
              <a:defRPr sz="2583"/>
            </a:lvl2pPr>
            <a:lvl3pPr>
              <a:defRPr sz="2583"/>
            </a:lvl3pPr>
            <a:lvl4pPr>
              <a:defRPr sz="2583"/>
            </a:lvl4pPr>
            <a:lvl5pPr>
              <a:defRPr sz="258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345628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, sub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29" y="1477992"/>
            <a:ext cx="11049000" cy="419232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583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41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79529" y="719983"/>
            <a:ext cx="11049000" cy="384721"/>
          </a:xfrm>
        </p:spPr>
        <p:txBody>
          <a:bodyPr lIns="0" tIns="0" rIns="0" bIns="0"/>
          <a:lstStyle>
            <a:lvl1pPr marL="0" indent="0">
              <a:buNone/>
              <a:defRPr sz="2583"/>
            </a:lvl1pPr>
            <a:lvl2pPr>
              <a:defRPr sz="2583"/>
            </a:lvl2pPr>
            <a:lvl3pPr>
              <a:defRPr sz="2583"/>
            </a:lvl3pPr>
            <a:lvl4pPr>
              <a:defRPr sz="2583"/>
            </a:lvl4pPr>
            <a:lvl5pPr>
              <a:defRPr sz="258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1902139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, sub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29" y="1477992"/>
            <a:ext cx="11049000" cy="419232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583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41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79529" y="719983"/>
            <a:ext cx="11049000" cy="384721"/>
          </a:xfrm>
        </p:spPr>
        <p:txBody>
          <a:bodyPr lIns="0" tIns="0" rIns="0" bIns="0"/>
          <a:lstStyle>
            <a:lvl1pPr marL="0" indent="0">
              <a:buNone/>
              <a:defRPr sz="2583"/>
            </a:lvl1pPr>
            <a:lvl2pPr>
              <a:defRPr sz="2583"/>
            </a:lvl2pPr>
            <a:lvl3pPr>
              <a:defRPr sz="2583"/>
            </a:lvl3pPr>
            <a:lvl4pPr>
              <a:defRPr sz="2583"/>
            </a:lvl4pPr>
            <a:lvl5pPr>
              <a:defRPr sz="258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5049968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, sub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29" y="1477992"/>
            <a:ext cx="11049000" cy="419232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583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41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79529" y="719983"/>
            <a:ext cx="11049000" cy="384721"/>
          </a:xfrm>
        </p:spPr>
        <p:txBody>
          <a:bodyPr lIns="0" tIns="0" rIns="0" bIns="0"/>
          <a:lstStyle>
            <a:lvl1pPr marL="0" indent="0">
              <a:buNone/>
              <a:defRPr sz="2583"/>
            </a:lvl1pPr>
            <a:lvl2pPr>
              <a:defRPr sz="2583"/>
            </a:lvl2pPr>
            <a:lvl3pPr>
              <a:defRPr sz="2583"/>
            </a:lvl3pPr>
            <a:lvl4pPr>
              <a:defRPr sz="2583"/>
            </a:lvl4pPr>
            <a:lvl5pPr>
              <a:defRPr sz="258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0790947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, sub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29" y="1477992"/>
            <a:ext cx="11049000" cy="419232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583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41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79529" y="719983"/>
            <a:ext cx="11049000" cy="384721"/>
          </a:xfrm>
        </p:spPr>
        <p:txBody>
          <a:bodyPr lIns="0" tIns="0" rIns="0" bIns="0"/>
          <a:lstStyle>
            <a:lvl1pPr marL="0" indent="0">
              <a:buNone/>
              <a:defRPr sz="2583"/>
            </a:lvl1pPr>
            <a:lvl2pPr>
              <a:defRPr sz="2583"/>
            </a:lvl2pPr>
            <a:lvl3pPr>
              <a:defRPr sz="2583"/>
            </a:lvl3pPr>
            <a:lvl4pPr>
              <a:defRPr sz="2583"/>
            </a:lvl4pPr>
            <a:lvl5pPr>
              <a:defRPr sz="258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51775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, sub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29" y="1477992"/>
            <a:ext cx="11049000" cy="419232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583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41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79529" y="719983"/>
            <a:ext cx="11049000" cy="384721"/>
          </a:xfrm>
        </p:spPr>
        <p:txBody>
          <a:bodyPr lIns="0" tIns="0" rIns="0" bIns="0"/>
          <a:lstStyle>
            <a:lvl1pPr marL="0" indent="0">
              <a:buNone/>
              <a:defRPr sz="2583"/>
            </a:lvl1pPr>
            <a:lvl2pPr>
              <a:defRPr sz="2583"/>
            </a:lvl2pPr>
            <a:lvl3pPr>
              <a:defRPr sz="2583"/>
            </a:lvl3pPr>
            <a:lvl4pPr>
              <a:defRPr sz="2583"/>
            </a:lvl4pPr>
            <a:lvl5pPr>
              <a:defRPr sz="258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32930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, sub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7614240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17">
                <a:solidFill>
                  <a:srgbClr val="595959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7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29" rtl="0" eaLnBrk="1" fontAlgn="auto" latinLnBrk="0" hangingPunct="1">
              <a:lnSpc>
                <a:spcPts val="66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833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83F81CA-5823-4343-8C71-4E94A09881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228" y="63313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C97C02C1-D16E-4689-AA05-77B7CCEFD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41133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, sub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29" y="1477992"/>
            <a:ext cx="11049000" cy="419232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583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41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79529" y="719983"/>
            <a:ext cx="11049000" cy="384721"/>
          </a:xfrm>
        </p:spPr>
        <p:txBody>
          <a:bodyPr lIns="0" tIns="0" rIns="0" bIns="0"/>
          <a:lstStyle>
            <a:lvl1pPr marL="0" indent="0">
              <a:buNone/>
              <a:defRPr sz="2583"/>
            </a:lvl1pPr>
            <a:lvl2pPr>
              <a:defRPr sz="2583"/>
            </a:lvl2pPr>
            <a:lvl3pPr>
              <a:defRPr sz="2583"/>
            </a:lvl3pPr>
            <a:lvl4pPr>
              <a:defRPr sz="2583"/>
            </a:lvl4pPr>
            <a:lvl5pPr>
              <a:defRPr sz="258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3088957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, sub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29" y="1477992"/>
            <a:ext cx="11049000" cy="419232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583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41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79529" y="719983"/>
            <a:ext cx="11049000" cy="384721"/>
          </a:xfrm>
        </p:spPr>
        <p:txBody>
          <a:bodyPr lIns="0" tIns="0" rIns="0" bIns="0"/>
          <a:lstStyle>
            <a:lvl1pPr marL="0" indent="0">
              <a:buNone/>
              <a:defRPr sz="2583"/>
            </a:lvl1pPr>
            <a:lvl2pPr>
              <a:defRPr sz="2583"/>
            </a:lvl2pPr>
            <a:lvl3pPr>
              <a:defRPr sz="2583"/>
            </a:lvl3pPr>
            <a:lvl4pPr>
              <a:defRPr sz="2583"/>
            </a:lvl4pPr>
            <a:lvl5pPr>
              <a:defRPr sz="258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7558558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title, sub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29" y="1477992"/>
            <a:ext cx="11049000" cy="419232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583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41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79529" y="719983"/>
            <a:ext cx="11049000" cy="384721"/>
          </a:xfrm>
        </p:spPr>
        <p:txBody>
          <a:bodyPr lIns="0" tIns="0" rIns="0" bIns="0"/>
          <a:lstStyle>
            <a:lvl1pPr marL="0" indent="0">
              <a:buNone/>
              <a:defRPr sz="2583"/>
            </a:lvl1pPr>
            <a:lvl2pPr>
              <a:defRPr sz="2583"/>
            </a:lvl2pPr>
            <a:lvl3pPr>
              <a:defRPr sz="2583"/>
            </a:lvl3pPr>
            <a:lvl4pPr>
              <a:defRPr sz="2583"/>
            </a:lvl4pPr>
            <a:lvl5pPr>
              <a:defRPr sz="258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8368064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, cha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3" y="1713183"/>
            <a:ext cx="11049000" cy="333425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167" dirty="0" smtClean="0">
                <a:solidFill>
                  <a:schemeClr val="accent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41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71503" y="955170"/>
            <a:ext cx="11049000" cy="384721"/>
          </a:xfrm>
        </p:spPr>
        <p:txBody>
          <a:bodyPr lIns="0" tIns="0" rIns="0" bIns="0"/>
          <a:lstStyle>
            <a:lvl1pPr marL="0" indent="0">
              <a:buNone/>
              <a:defRPr sz="2583"/>
            </a:lvl1pPr>
            <a:lvl2pPr>
              <a:defRPr sz="2583"/>
            </a:lvl2pPr>
            <a:lvl3pPr>
              <a:defRPr sz="2583"/>
            </a:lvl3pPr>
            <a:lvl4pPr>
              <a:defRPr sz="2583"/>
            </a:lvl4pPr>
            <a:lvl5pPr>
              <a:defRPr sz="258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8115338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title, sub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29" y="1477992"/>
            <a:ext cx="11049000" cy="419232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583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41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79529" y="719983"/>
            <a:ext cx="11049000" cy="384721"/>
          </a:xfrm>
        </p:spPr>
        <p:txBody>
          <a:bodyPr lIns="0" tIns="0" rIns="0" bIns="0"/>
          <a:lstStyle>
            <a:lvl1pPr marL="0" indent="0">
              <a:buNone/>
              <a:defRPr sz="2583"/>
            </a:lvl1pPr>
            <a:lvl2pPr>
              <a:defRPr sz="2583"/>
            </a:lvl2pPr>
            <a:lvl3pPr>
              <a:defRPr sz="2583"/>
            </a:lvl3pPr>
            <a:lvl4pPr>
              <a:defRPr sz="2583"/>
            </a:lvl4pPr>
            <a:lvl5pPr>
              <a:defRPr sz="258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637724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itle, sub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29" y="1477992"/>
            <a:ext cx="11049000" cy="419232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583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41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79529" y="719983"/>
            <a:ext cx="11049000" cy="384721"/>
          </a:xfrm>
        </p:spPr>
        <p:txBody>
          <a:bodyPr lIns="0" tIns="0" rIns="0" bIns="0"/>
          <a:lstStyle>
            <a:lvl1pPr marL="0" indent="0">
              <a:buNone/>
              <a:defRPr sz="2583"/>
            </a:lvl1pPr>
            <a:lvl2pPr>
              <a:defRPr sz="2583"/>
            </a:lvl2pPr>
            <a:lvl3pPr>
              <a:defRPr sz="2583"/>
            </a:lvl3pPr>
            <a:lvl4pPr>
              <a:defRPr sz="2583"/>
            </a:lvl4pPr>
            <a:lvl5pPr>
              <a:defRPr sz="258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5323823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itle, sub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29" y="1477992"/>
            <a:ext cx="11049000" cy="419232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583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41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167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79529" y="719983"/>
            <a:ext cx="11049000" cy="384721"/>
          </a:xfrm>
        </p:spPr>
        <p:txBody>
          <a:bodyPr lIns="0" tIns="0" rIns="0" bIns="0"/>
          <a:lstStyle>
            <a:lvl1pPr marL="0" indent="0">
              <a:buNone/>
              <a:defRPr sz="2583"/>
            </a:lvl1pPr>
            <a:lvl2pPr>
              <a:defRPr sz="2583"/>
            </a:lvl2pPr>
            <a:lvl3pPr>
              <a:defRPr sz="2583"/>
            </a:lvl3pPr>
            <a:lvl4pPr>
              <a:defRPr sz="2583"/>
            </a:lvl4pPr>
            <a:lvl5pPr>
              <a:defRPr sz="258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14008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ine title,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53DE1ED-C14F-4FBD-9211-11AE5DD08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341380"/>
            <a:ext cx="10981267" cy="577081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4235A9-CEFC-409C-81BC-A6B9097D55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82228" y="6331353"/>
            <a:ext cx="454400" cy="3333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BD836A8-734C-4760-8505-0B5153DD0B1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92084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92451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, sub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7614240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17">
                <a:solidFill>
                  <a:srgbClr val="595959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7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29" rtl="0" eaLnBrk="1" fontAlgn="auto" latinLnBrk="0" hangingPunct="1">
              <a:lnSpc>
                <a:spcPts val="66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833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83F81CA-5823-4343-8C71-4E94A09881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228" y="63313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C97C02C1-D16E-4689-AA05-77B7CCEFD2FC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E0CF12-9C67-B04B-AB29-10928034963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673" y="6369584"/>
            <a:ext cx="1116415" cy="202458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737FBDF-CD9A-5940-AAAD-C66FDC27F97C}"/>
              </a:ext>
            </a:extLst>
          </p:cNvPr>
          <p:cNvSpPr txBox="1">
            <a:spLocks/>
          </p:cNvSpPr>
          <p:nvPr/>
        </p:nvSpPr>
        <p:spPr>
          <a:xfrm>
            <a:off x="6646986" y="6407471"/>
            <a:ext cx="4853049" cy="257257"/>
          </a:xfrm>
          <a:prstGeom prst="rect">
            <a:avLst/>
          </a:prstGeom>
        </p:spPr>
        <p:txBody>
          <a:bodyPr/>
          <a:lstStyle>
            <a:lvl1pPr marL="0" indent="0" algn="r" rtl="0" eaLnBrk="1" fontAlgn="base" hangingPunct="1">
              <a:lnSpc>
                <a:spcPct val="100000"/>
              </a:lnSpc>
              <a:spcBef>
                <a:spcPts val="216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defRPr sz="900" b="1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548640" indent="-2880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40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877824" indent="-241402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216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316736" indent="-241402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180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785557" indent="-229362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»"/>
              <a:defRPr sz="156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2131468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477111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822754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3168397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defTabSz="761940"/>
            <a:r>
              <a:rPr lang="en-US" sz="750" kern="0">
                <a:solidFill>
                  <a:schemeClr val="bg1"/>
                </a:solidFill>
              </a:rPr>
              <a:t>CONSUMER HEALTH</a:t>
            </a:r>
          </a:p>
        </p:txBody>
      </p:sp>
    </p:spTree>
    <p:extLst>
      <p:ext uri="{BB962C8B-B14F-4D97-AF65-F5344CB8AC3E}">
        <p14:creationId xmlns:p14="http://schemas.microsoft.com/office/powerpoint/2010/main" val="421694835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7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29" rtl="0" eaLnBrk="1" fontAlgn="auto" latinLnBrk="0" hangingPunct="1">
              <a:lnSpc>
                <a:spcPts val="66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833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225766747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, sub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17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7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29" rtl="0" eaLnBrk="1" fontAlgn="auto" latinLnBrk="0" hangingPunct="1">
              <a:lnSpc>
                <a:spcPts val="66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833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384012134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7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29" rtl="0" eaLnBrk="1" fontAlgn="auto" latinLnBrk="0" hangingPunct="1">
              <a:lnSpc>
                <a:spcPts val="66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833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3593622787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5367" y="1713178"/>
            <a:ext cx="10981267" cy="437964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>
                <a:sym typeface="Arial" pitchFamily="-65" charset="0"/>
              </a:rPr>
              <a:t>Click to edit Master text styles</a:t>
            </a:r>
          </a:p>
          <a:p>
            <a:pPr lvl="1"/>
            <a:r>
              <a:rPr lang="en-US">
                <a:sym typeface="Arial" pitchFamily="-65" charset="0"/>
              </a:rPr>
              <a:t>Second level</a:t>
            </a:r>
          </a:p>
          <a:p>
            <a:pPr lvl="2"/>
            <a:r>
              <a:rPr lang="en-US">
                <a:sym typeface="Arial" pitchFamily="-65" charset="0"/>
              </a:rPr>
              <a:t>Third level</a:t>
            </a:r>
          </a:p>
          <a:p>
            <a:pPr lvl="3"/>
            <a:r>
              <a:rPr lang="en-US">
                <a:sym typeface="Arial" pitchFamily="-65" charset="0"/>
              </a:rPr>
              <a:t>Fourth level</a:t>
            </a:r>
          </a:p>
          <a:p>
            <a:pPr lvl="4"/>
            <a:r>
              <a:rPr lang="en-US">
                <a:sym typeface="Arial" pitchFamily="-65" charset="0"/>
              </a:rPr>
              <a:t>Fifth level</a:t>
            </a:r>
          </a:p>
        </p:txBody>
      </p:sp>
      <p:sp>
        <p:nvSpPr>
          <p:cNvPr id="9219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05367" y="378459"/>
            <a:ext cx="10145760" cy="57708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>
                <a:sym typeface="Arial" pitchFamily="-65" charset="0"/>
              </a:rPr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2228" y="63313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C97C02C1-D16E-4689-AA05-77B7CCEFD2FC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B54A4B9-03FA-7749-918A-717875E05124}"/>
              </a:ext>
            </a:extLst>
          </p:cNvPr>
          <p:cNvPicPr>
            <a:picLocks noChangeAspect="1"/>
          </p:cNvPicPr>
          <p:nvPr/>
        </p:nvPicPr>
        <p:blipFill>
          <a:blip r:embed="rId6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673" y="6369584"/>
            <a:ext cx="1116415" cy="202458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DB8DE107-359B-B14E-A46E-1EC2057186C5}"/>
              </a:ext>
            </a:extLst>
          </p:cNvPr>
          <p:cNvSpPr txBox="1">
            <a:spLocks/>
          </p:cNvSpPr>
          <p:nvPr/>
        </p:nvSpPr>
        <p:spPr>
          <a:xfrm>
            <a:off x="6646986" y="6407471"/>
            <a:ext cx="4853049" cy="257257"/>
          </a:xfrm>
          <a:prstGeom prst="rect">
            <a:avLst/>
          </a:prstGeom>
        </p:spPr>
        <p:txBody>
          <a:bodyPr/>
          <a:lstStyle>
            <a:lvl1pPr marL="0" indent="0" algn="r" rtl="0" eaLnBrk="1" fontAlgn="base" hangingPunct="1">
              <a:lnSpc>
                <a:spcPct val="100000"/>
              </a:lnSpc>
              <a:spcBef>
                <a:spcPts val="216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defRPr sz="900" b="1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548640" indent="-288036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40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877824" indent="-241402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216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316736" indent="-241402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180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785557" indent="-229362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»"/>
              <a:defRPr sz="156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2131468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477111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822754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3168397" indent="-230429" algn="l" rtl="0" eaLnBrk="1" fontAlgn="base" hangingPunct="1">
              <a:spcBef>
                <a:spcPts val="455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204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defTabSz="761940"/>
            <a:r>
              <a:rPr lang="en-US" sz="750" kern="0"/>
              <a:t>CONSUMER HEALTH</a:t>
            </a:r>
          </a:p>
        </p:txBody>
      </p:sp>
    </p:spTree>
    <p:extLst>
      <p:ext uri="{BB962C8B-B14F-4D97-AF65-F5344CB8AC3E}">
        <p14:creationId xmlns:p14="http://schemas.microsoft.com/office/powerpoint/2010/main" val="2057657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</p:sldLayoutIdLst>
  <p:transition>
    <p:fade/>
  </p:transition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750" b="1">
          <a:solidFill>
            <a:schemeClr val="tx1"/>
          </a:solidFill>
          <a:latin typeface="+mj-lt"/>
          <a:ea typeface="Arial Unicode MS" pitchFamily="-65" charset="0"/>
          <a:cs typeface="Arial Unicode MS" pitchFamily="-65" charset="0"/>
          <a:sym typeface="Arial" pitchFamily="-65" charset="0"/>
        </a:defRPr>
      </a:lvl1pPr>
      <a:lvl2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2pPr>
      <a:lvl3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3pPr>
      <a:lvl4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4pPr>
      <a:lvl5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5pPr>
      <a:lvl6pPr marL="288013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6pPr>
      <a:lvl7pPr marL="576026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7pPr>
      <a:lvl8pPr marL="864040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8pPr>
      <a:lvl9pPr marL="1152052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9pPr>
    </p:titleStyle>
    <p:bodyStyle>
      <a:lvl1pPr marL="248698" indent="-236793" algn="l" rtl="0" eaLnBrk="1" fontAlgn="base" hangingPunct="1">
        <a:lnSpc>
          <a:spcPct val="100000"/>
        </a:lnSpc>
        <a:spcBef>
          <a:spcPts val="180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•"/>
        <a:tabLst/>
        <a:defRPr sz="2500">
          <a:solidFill>
            <a:srgbClr val="595959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1pPr>
      <a:lvl2pPr marL="529146" indent="-238115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–"/>
        <a:tabLst/>
        <a:defRPr sz="2000">
          <a:solidFill>
            <a:srgbClr val="595959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2pPr>
      <a:lvl3pPr marL="731462" indent="-201152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•"/>
        <a:defRPr sz="1667">
          <a:solidFill>
            <a:srgbClr val="595959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3pPr>
      <a:lvl4pPr marL="1004054" indent="-194461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–"/>
        <a:tabLst/>
        <a:defRPr sz="1333">
          <a:solidFill>
            <a:srgbClr val="595959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4pPr>
      <a:lvl5pPr marL="1240846" indent="-182555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»"/>
        <a:tabLst/>
        <a:defRPr sz="1250">
          <a:solidFill>
            <a:srgbClr val="595959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5pPr>
      <a:lvl6pPr marL="1776081" indent="-192008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6pPr>
      <a:lvl7pPr marL="2064094" indent="-192008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7pPr>
      <a:lvl8pPr marL="2352107" indent="-192008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8pPr>
      <a:lvl9pPr marL="2640119" indent="-192008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9pPr>
    </p:bodyStyle>
    <p:otherStyle>
      <a:defPPr>
        <a:defRPr lang="en-US"/>
      </a:defPPr>
      <a:lvl1pPr marL="0" algn="l" defTabSz="288013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13" algn="l" defTabSz="288013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576026" algn="l" defTabSz="288013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40" algn="l" defTabSz="288013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052" algn="l" defTabSz="288013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440064" algn="l" defTabSz="288013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728078" algn="l" defTabSz="288013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016090" algn="l" defTabSz="288013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304104" algn="l" defTabSz="288013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6.png"/><Relationship Id="rId3" Type="http://schemas.openxmlformats.org/officeDocument/2006/relationships/image" Target="../media/image10.png"/><Relationship Id="rId7" Type="http://schemas.openxmlformats.org/officeDocument/2006/relationships/image" Target="../media/image21.png"/><Relationship Id="rId12" Type="http://schemas.openxmlformats.org/officeDocument/2006/relationships/image" Target="../media/image25.png"/><Relationship Id="rId17" Type="http://schemas.openxmlformats.org/officeDocument/2006/relationships/image" Target="../media/image29.png"/><Relationship Id="rId2" Type="http://schemas.openxmlformats.org/officeDocument/2006/relationships/image" Target="../media/image18.png"/><Relationship Id="rId16" Type="http://schemas.openxmlformats.org/officeDocument/2006/relationships/image" Target="../media/image28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3.png"/><Relationship Id="rId11" Type="http://schemas.openxmlformats.org/officeDocument/2006/relationships/image" Target="../media/image24.png"/><Relationship Id="rId5" Type="http://schemas.openxmlformats.org/officeDocument/2006/relationships/image" Target="../media/image20.png"/><Relationship Id="rId15" Type="http://schemas.openxmlformats.org/officeDocument/2006/relationships/image" Target="../media/image27.png"/><Relationship Id="rId10" Type="http://schemas.openxmlformats.org/officeDocument/2006/relationships/image" Target="../media/image16.png"/><Relationship Id="rId4" Type="http://schemas.openxmlformats.org/officeDocument/2006/relationships/image" Target="../media/image19.png"/><Relationship Id="rId9" Type="http://schemas.openxmlformats.org/officeDocument/2006/relationships/image" Target="../media/image23.png"/><Relationship Id="rId1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7.png"/><Relationship Id="rId3" Type="http://schemas.openxmlformats.org/officeDocument/2006/relationships/image" Target="../media/image10.png"/><Relationship Id="rId7" Type="http://schemas.openxmlformats.org/officeDocument/2006/relationships/image" Target="../media/image22.pn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image" Target="../media/image18.png"/><Relationship Id="rId16" Type="http://schemas.openxmlformats.org/officeDocument/2006/relationships/image" Target="../media/image30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21.png"/><Relationship Id="rId11" Type="http://schemas.openxmlformats.org/officeDocument/2006/relationships/image" Target="../media/image25.png"/><Relationship Id="rId5" Type="http://schemas.openxmlformats.org/officeDocument/2006/relationships/image" Target="../media/image20.png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image" Target="../media/image19.png"/><Relationship Id="rId9" Type="http://schemas.openxmlformats.org/officeDocument/2006/relationships/image" Target="../media/image16.png"/><Relationship Id="rId14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35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1.png"/><Relationship Id="rId11" Type="http://schemas.openxmlformats.org/officeDocument/2006/relationships/image" Target="../media/image34.png"/><Relationship Id="rId5" Type="http://schemas.openxmlformats.org/officeDocument/2006/relationships/image" Target="../media/image10.png"/><Relationship Id="rId10" Type="http://schemas.openxmlformats.org/officeDocument/2006/relationships/image" Target="../media/image33.png"/><Relationship Id="rId4" Type="http://schemas.openxmlformats.org/officeDocument/2006/relationships/image" Target="../media/image9.svg"/><Relationship Id="rId9" Type="http://schemas.openxmlformats.org/officeDocument/2006/relationships/image" Target="../media/image32.png"/><Relationship Id="rId1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Title 1">
            <a:extLst>
              <a:ext uri="{FF2B5EF4-FFF2-40B4-BE49-F238E27FC236}">
                <a16:creationId xmlns:a16="http://schemas.microsoft.com/office/drawing/2014/main" id="{A9F9D1EF-B24E-47C5-A6E2-826D56B04E1D}"/>
              </a:ext>
            </a:extLst>
          </p:cNvPr>
          <p:cNvSpPr txBox="1">
            <a:spLocks/>
          </p:cNvSpPr>
          <p:nvPr/>
        </p:nvSpPr>
        <p:spPr bwMode="auto">
          <a:xfrm>
            <a:off x="367157" y="75115"/>
            <a:ext cx="5935017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68514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06515" algn="l"/>
              </a:tabLst>
              <a:defRPr sz="2000" b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6851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06507" algn="l"/>
              </a:tabLst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Jenkins-Docker-Azure Workflow</a:t>
            </a:r>
          </a:p>
          <a:p>
            <a:pPr marL="0" marR="0" lvl="0" indent="0" algn="l" defTabSz="6851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06507" algn="l"/>
              </a:tabLst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EEEC9419-83DA-4059-97CC-C5245264A0A1}"/>
              </a:ext>
            </a:extLst>
          </p:cNvPr>
          <p:cNvGrpSpPr/>
          <p:nvPr/>
        </p:nvGrpSpPr>
        <p:grpSpPr>
          <a:xfrm>
            <a:off x="2875992" y="922849"/>
            <a:ext cx="1227831" cy="950908"/>
            <a:chOff x="775169" y="2514863"/>
            <a:chExt cx="1331927" cy="812154"/>
          </a:xfrm>
        </p:grpSpPr>
        <p:sp>
          <p:nvSpPr>
            <p:cNvPr id="95" name="Rectangle: Rounded Corners 283">
              <a:extLst>
                <a:ext uri="{FF2B5EF4-FFF2-40B4-BE49-F238E27FC236}">
                  <a16:creationId xmlns:a16="http://schemas.microsoft.com/office/drawing/2014/main" id="{9E682CB4-799D-4722-8B0B-D4759463C1B9}"/>
                </a:ext>
              </a:extLst>
            </p:cNvPr>
            <p:cNvSpPr/>
            <p:nvPr/>
          </p:nvSpPr>
          <p:spPr bwMode="auto">
            <a:xfrm>
              <a:off x="775169" y="2514863"/>
              <a:ext cx="1331927" cy="792656"/>
            </a:xfrm>
            <a:prstGeom prst="roundRect">
              <a:avLst/>
            </a:prstGeom>
            <a:noFill/>
            <a:ln w="25400">
              <a:solidFill>
                <a:srgbClr val="0070C0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34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F11BCAD7-CB41-4A63-82A8-DB3929A5967F}"/>
                </a:ext>
              </a:extLst>
            </p:cNvPr>
            <p:cNvSpPr/>
            <p:nvPr/>
          </p:nvSpPr>
          <p:spPr>
            <a:xfrm>
              <a:off x="1179334" y="3011577"/>
              <a:ext cx="681928" cy="3154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MS PGothic" panose="020B0600070205080204" pitchFamily="34" charset="-128"/>
                  <a:cs typeface="Segoe UI Semibold" panose="020B0702040204020203" pitchFamily="34" charset="0"/>
                </a:rPr>
                <a:t>Feature Branch</a:t>
              </a:r>
            </a:p>
          </p:txBody>
        </p:sp>
      </p:grpSp>
      <p:sp>
        <p:nvSpPr>
          <p:cNvPr id="120" name="Rectangle: Rounded Corners 283">
            <a:extLst>
              <a:ext uri="{FF2B5EF4-FFF2-40B4-BE49-F238E27FC236}">
                <a16:creationId xmlns:a16="http://schemas.microsoft.com/office/drawing/2014/main" id="{7A468331-3EF1-4E0B-904A-DD5A2AF55C21}"/>
              </a:ext>
            </a:extLst>
          </p:cNvPr>
          <p:cNvSpPr/>
          <p:nvPr/>
        </p:nvSpPr>
        <p:spPr bwMode="auto">
          <a:xfrm>
            <a:off x="409384" y="958429"/>
            <a:ext cx="1227831" cy="905598"/>
          </a:xfrm>
          <a:prstGeom prst="roundRect">
            <a:avLst/>
          </a:prstGeom>
          <a:noFill/>
          <a:ln w="25400">
            <a:solidFill>
              <a:srgbClr val="0070C0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3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Calibr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9AC81364-4491-4F71-95F0-A44590AD8BDC}"/>
              </a:ext>
            </a:extLst>
          </p:cNvPr>
          <p:cNvSpPr/>
          <p:nvPr/>
        </p:nvSpPr>
        <p:spPr bwMode="auto">
          <a:xfrm>
            <a:off x="440967" y="470262"/>
            <a:ext cx="1808669" cy="45719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7315A290-0EC4-467E-896A-A6D9A880E66F}"/>
              </a:ext>
            </a:extLst>
          </p:cNvPr>
          <p:cNvGrpSpPr/>
          <p:nvPr/>
        </p:nvGrpSpPr>
        <p:grpSpPr>
          <a:xfrm>
            <a:off x="779450" y="1049777"/>
            <a:ext cx="557439" cy="737688"/>
            <a:chOff x="9036173" y="5537558"/>
            <a:chExt cx="914400" cy="1271732"/>
          </a:xfrm>
        </p:grpSpPr>
        <p:pic>
          <p:nvPicPr>
            <p:cNvPr id="78" name="Graphic 77" descr="User">
              <a:extLst>
                <a:ext uri="{FF2B5EF4-FFF2-40B4-BE49-F238E27FC236}">
                  <a16:creationId xmlns:a16="http://schemas.microsoft.com/office/drawing/2014/main" id="{7EDC9418-98D7-4BC5-9F71-85CC277BCCF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036173" y="5537558"/>
              <a:ext cx="914400" cy="914400"/>
            </a:xfrm>
            <a:prstGeom prst="rect">
              <a:avLst/>
            </a:prstGeom>
          </p:spPr>
        </p:pic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11B34997-EC34-45ED-AA2A-02D26B6B037F}"/>
                </a:ext>
              </a:extLst>
            </p:cNvPr>
            <p:cNvSpPr txBox="1"/>
            <p:nvPr/>
          </p:nvSpPr>
          <p:spPr>
            <a:xfrm>
              <a:off x="9036173" y="6411349"/>
              <a:ext cx="303025" cy="397941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 defTabSz="950973">
                <a:defRPr sz="900" kern="0">
                  <a:solidFill>
                    <a:schemeClr val="tx1"/>
                  </a:solidFill>
                  <a:latin typeface="Segoe UI Semibold" panose="020B0702040204020203" pitchFamily="34" charset="0"/>
                  <a:ea typeface="MS PGothic" panose="020B0600070205080204" pitchFamily="34" charset="-128"/>
                  <a:cs typeface="Segoe UI Semibold" panose="020B0702040204020203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l" defTabSz="9509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endParaRPr>
            </a:p>
          </p:txBody>
        </p:sp>
      </p:grpSp>
      <p:sp>
        <p:nvSpPr>
          <p:cNvPr id="80" name="Rectangle 79">
            <a:extLst>
              <a:ext uri="{FF2B5EF4-FFF2-40B4-BE49-F238E27FC236}">
                <a16:creationId xmlns:a16="http://schemas.microsoft.com/office/drawing/2014/main" id="{7DCBF7CD-A6AA-4A42-951E-463DFAA0B5DC}"/>
              </a:ext>
            </a:extLst>
          </p:cNvPr>
          <p:cNvSpPr/>
          <p:nvPr/>
        </p:nvSpPr>
        <p:spPr>
          <a:xfrm>
            <a:off x="703314" y="1578093"/>
            <a:ext cx="73953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   User</a:t>
            </a:r>
          </a:p>
        </p:txBody>
      </p:sp>
      <p:pic>
        <p:nvPicPr>
          <p:cNvPr id="82" name="Picture 81" descr="Bitbucket Pricing Hike Increases Cost Per User by 100% – WP Tavern">
            <a:extLst>
              <a:ext uri="{FF2B5EF4-FFF2-40B4-BE49-F238E27FC236}">
                <a16:creationId xmlns:a16="http://schemas.microsoft.com/office/drawing/2014/main" id="{DB51466B-F9D2-4310-9A33-2DFA85A818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5992" y="1049777"/>
            <a:ext cx="1135488" cy="283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A885EA3D-E65F-4B65-A04C-B5409E22836B}"/>
              </a:ext>
            </a:extLst>
          </p:cNvPr>
          <p:cNvSpPr txBox="1"/>
          <p:nvPr/>
        </p:nvSpPr>
        <p:spPr>
          <a:xfrm>
            <a:off x="1544968" y="1503818"/>
            <a:ext cx="1253794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Developers pushes the code in bit bucket in feature branch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042E21B7-73EA-4A86-BE4D-A08904E50FB5}"/>
              </a:ext>
            </a:extLst>
          </p:cNvPr>
          <p:cNvSpPr txBox="1"/>
          <p:nvPr/>
        </p:nvSpPr>
        <p:spPr>
          <a:xfrm>
            <a:off x="1544968" y="911128"/>
            <a:ext cx="1253794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User will create a Feature Branch . 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18B8A21E-2C71-43AF-89D0-9B630F58B212}"/>
              </a:ext>
            </a:extLst>
          </p:cNvPr>
          <p:cNvCxnSpPr>
            <a:stCxn id="95" idx="3"/>
          </p:cNvCxnSpPr>
          <p:nvPr/>
        </p:nvCxnSpPr>
        <p:spPr bwMode="auto">
          <a:xfrm flipV="1">
            <a:off x="4103823" y="1386888"/>
            <a:ext cx="706829" cy="1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57E962F5-6679-427B-B8CE-6F727CD8255A}"/>
              </a:ext>
            </a:extLst>
          </p:cNvPr>
          <p:cNvCxnSpPr>
            <a:cxnSpLocks/>
            <a:stCxn id="120" idx="3"/>
          </p:cNvCxnSpPr>
          <p:nvPr/>
        </p:nvCxnSpPr>
        <p:spPr bwMode="auto">
          <a:xfrm>
            <a:off x="1637215" y="1411228"/>
            <a:ext cx="1163595" cy="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2" name="Rectangle: Rounded Corners 283">
            <a:extLst>
              <a:ext uri="{FF2B5EF4-FFF2-40B4-BE49-F238E27FC236}">
                <a16:creationId xmlns:a16="http://schemas.microsoft.com/office/drawing/2014/main" id="{8039BFD7-6B57-468D-B9D3-90A4A809C81C}"/>
              </a:ext>
            </a:extLst>
          </p:cNvPr>
          <p:cNvSpPr/>
          <p:nvPr/>
        </p:nvSpPr>
        <p:spPr bwMode="auto">
          <a:xfrm>
            <a:off x="4810652" y="944972"/>
            <a:ext cx="1227831" cy="905598"/>
          </a:xfrm>
          <a:prstGeom prst="roundRect">
            <a:avLst/>
          </a:prstGeom>
          <a:noFill/>
          <a:ln w="25400">
            <a:solidFill>
              <a:srgbClr val="0070C0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3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Calibr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7F6BC4F-1015-45D0-BA3C-4DCFB61791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7884" y="1079111"/>
            <a:ext cx="1220599" cy="615553"/>
          </a:xfrm>
          <a:prstGeom prst="rect">
            <a:avLst/>
          </a:prstGeom>
        </p:spPr>
      </p:pic>
      <p:sp>
        <p:nvSpPr>
          <p:cNvPr id="113" name="TextBox 112">
            <a:extLst>
              <a:ext uri="{FF2B5EF4-FFF2-40B4-BE49-F238E27FC236}">
                <a16:creationId xmlns:a16="http://schemas.microsoft.com/office/drawing/2014/main" id="{34762B81-D2E7-4F14-8DEE-BCE70A6D3D4A}"/>
              </a:ext>
            </a:extLst>
          </p:cNvPr>
          <p:cNvSpPr txBox="1"/>
          <p:nvPr/>
        </p:nvSpPr>
        <p:spPr>
          <a:xfrm>
            <a:off x="4817884" y="673411"/>
            <a:ext cx="1253794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PR to review the code for approval</a:t>
            </a:r>
          </a:p>
        </p:txBody>
      </p:sp>
      <p:sp>
        <p:nvSpPr>
          <p:cNvPr id="114" name="Rectangle: Rounded Corners 283">
            <a:extLst>
              <a:ext uri="{FF2B5EF4-FFF2-40B4-BE49-F238E27FC236}">
                <a16:creationId xmlns:a16="http://schemas.microsoft.com/office/drawing/2014/main" id="{BBA4002C-DF71-4DEF-B557-4CB950E33D38}"/>
              </a:ext>
            </a:extLst>
          </p:cNvPr>
          <p:cNvSpPr/>
          <p:nvPr/>
        </p:nvSpPr>
        <p:spPr bwMode="auto">
          <a:xfrm>
            <a:off x="6677552" y="913914"/>
            <a:ext cx="1227831" cy="905598"/>
          </a:xfrm>
          <a:prstGeom prst="roundRect">
            <a:avLst/>
          </a:prstGeom>
          <a:noFill/>
          <a:ln w="25400">
            <a:solidFill>
              <a:srgbClr val="0070C0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3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Calibr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B6D5CB79-7F1A-41C6-9AEF-10AEDA5324BC}"/>
              </a:ext>
            </a:extLst>
          </p:cNvPr>
          <p:cNvCxnSpPr/>
          <p:nvPr/>
        </p:nvCxnSpPr>
        <p:spPr bwMode="auto">
          <a:xfrm flipV="1">
            <a:off x="6045715" y="1332787"/>
            <a:ext cx="706829" cy="1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972090C0-AFA9-4259-BEC3-545E25411C0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59777" y="944990"/>
            <a:ext cx="1130494" cy="803482"/>
          </a:xfrm>
          <a:prstGeom prst="rect">
            <a:avLst/>
          </a:prstGeom>
        </p:spPr>
      </p:pic>
      <p:sp>
        <p:nvSpPr>
          <p:cNvPr id="126" name="TextBox 125">
            <a:extLst>
              <a:ext uri="{FF2B5EF4-FFF2-40B4-BE49-F238E27FC236}">
                <a16:creationId xmlns:a16="http://schemas.microsoft.com/office/drawing/2014/main" id="{55D41D6C-3127-4183-A60B-69F7177F9AB1}"/>
              </a:ext>
            </a:extLst>
          </p:cNvPr>
          <p:cNvSpPr txBox="1"/>
          <p:nvPr/>
        </p:nvSpPr>
        <p:spPr>
          <a:xfrm>
            <a:off x="6539795" y="427190"/>
            <a:ext cx="1253794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Merge the feature branch changes to main/master branch</a:t>
            </a: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BE7F85AD-A426-4424-9426-4814F649BE10}"/>
              </a:ext>
            </a:extLst>
          </p:cNvPr>
          <p:cNvGrpSpPr/>
          <p:nvPr/>
        </p:nvGrpSpPr>
        <p:grpSpPr>
          <a:xfrm>
            <a:off x="8504811" y="947188"/>
            <a:ext cx="1227831" cy="928078"/>
            <a:chOff x="775169" y="2514863"/>
            <a:chExt cx="1331927" cy="792656"/>
          </a:xfrm>
        </p:grpSpPr>
        <p:sp>
          <p:nvSpPr>
            <p:cNvPr id="130" name="Rectangle: Rounded Corners 283">
              <a:extLst>
                <a:ext uri="{FF2B5EF4-FFF2-40B4-BE49-F238E27FC236}">
                  <a16:creationId xmlns:a16="http://schemas.microsoft.com/office/drawing/2014/main" id="{39076904-AA89-49A2-8BDC-251FCD0489DD}"/>
                </a:ext>
              </a:extLst>
            </p:cNvPr>
            <p:cNvSpPr/>
            <p:nvPr/>
          </p:nvSpPr>
          <p:spPr bwMode="auto">
            <a:xfrm>
              <a:off x="775169" y="2514863"/>
              <a:ext cx="1331927" cy="792656"/>
            </a:xfrm>
            <a:prstGeom prst="roundRect">
              <a:avLst/>
            </a:prstGeom>
            <a:noFill/>
            <a:ln w="25400">
              <a:solidFill>
                <a:srgbClr val="0070C0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34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4A25FC5E-DDB8-472C-AD31-CF1B388A00CD}"/>
                </a:ext>
              </a:extLst>
            </p:cNvPr>
            <p:cNvSpPr/>
            <p:nvPr/>
          </p:nvSpPr>
          <p:spPr>
            <a:xfrm>
              <a:off x="1200959" y="2883784"/>
              <a:ext cx="681928" cy="3154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MS PGothic" panose="020B0600070205080204" pitchFamily="34" charset="-128"/>
                  <a:cs typeface="Segoe UI Semibold" panose="020B0702040204020203" pitchFamily="34" charset="0"/>
                </a:rPr>
                <a:t>Staging Branch</a:t>
              </a:r>
            </a:p>
          </p:txBody>
        </p:sp>
      </p:grp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62AD544C-8546-43C5-9A42-C6E715C6D8B2}"/>
              </a:ext>
            </a:extLst>
          </p:cNvPr>
          <p:cNvCxnSpPr/>
          <p:nvPr/>
        </p:nvCxnSpPr>
        <p:spPr bwMode="auto">
          <a:xfrm flipV="1">
            <a:off x="7856354" y="1386887"/>
            <a:ext cx="706829" cy="1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149" name="Picture 148" descr="Bitbucket Pricing Hike Increases Cost Per User by 100% – WP Tavern">
            <a:extLst>
              <a:ext uri="{FF2B5EF4-FFF2-40B4-BE49-F238E27FC236}">
                <a16:creationId xmlns:a16="http://schemas.microsoft.com/office/drawing/2014/main" id="{0371762C-4F7B-4260-9C2C-B8C0F6F7EB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7220" y="1053704"/>
            <a:ext cx="1135488" cy="283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7" name="TextBox 156">
            <a:extLst>
              <a:ext uri="{FF2B5EF4-FFF2-40B4-BE49-F238E27FC236}">
                <a16:creationId xmlns:a16="http://schemas.microsoft.com/office/drawing/2014/main" id="{818EBE43-DC83-42F7-8AB3-D5462A683FF6}"/>
              </a:ext>
            </a:extLst>
          </p:cNvPr>
          <p:cNvSpPr txBox="1"/>
          <p:nvPr/>
        </p:nvSpPr>
        <p:spPr>
          <a:xfrm>
            <a:off x="8493553" y="470262"/>
            <a:ext cx="1253794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Successful merged the code in staging branch</a:t>
            </a:r>
          </a:p>
        </p:txBody>
      </p: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DEF3E6CA-DA77-4145-84D4-0DAC8B2718C1}"/>
              </a:ext>
            </a:extLst>
          </p:cNvPr>
          <p:cNvCxnSpPr>
            <a:cxnSpLocks/>
          </p:cNvCxnSpPr>
          <p:nvPr/>
        </p:nvCxnSpPr>
        <p:spPr bwMode="auto">
          <a:xfrm flipV="1">
            <a:off x="9707697" y="1397771"/>
            <a:ext cx="706829" cy="1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358EF348-0EF6-4852-B7D4-E2C2808A6AEE}"/>
              </a:ext>
            </a:extLst>
          </p:cNvPr>
          <p:cNvGrpSpPr/>
          <p:nvPr/>
        </p:nvGrpSpPr>
        <p:grpSpPr>
          <a:xfrm>
            <a:off x="10348240" y="937251"/>
            <a:ext cx="1227831" cy="928078"/>
            <a:chOff x="775169" y="2514863"/>
            <a:chExt cx="1331927" cy="792656"/>
          </a:xfrm>
        </p:grpSpPr>
        <p:sp>
          <p:nvSpPr>
            <p:cNvPr id="161" name="Rectangle: Rounded Corners 283">
              <a:extLst>
                <a:ext uri="{FF2B5EF4-FFF2-40B4-BE49-F238E27FC236}">
                  <a16:creationId xmlns:a16="http://schemas.microsoft.com/office/drawing/2014/main" id="{FEB11ADA-BE9B-4DE2-B23D-61B890A4215E}"/>
                </a:ext>
              </a:extLst>
            </p:cNvPr>
            <p:cNvSpPr/>
            <p:nvPr/>
          </p:nvSpPr>
          <p:spPr bwMode="auto">
            <a:xfrm>
              <a:off x="775169" y="2514863"/>
              <a:ext cx="1331927" cy="792656"/>
            </a:xfrm>
            <a:prstGeom prst="roundRect">
              <a:avLst/>
            </a:prstGeom>
            <a:noFill/>
            <a:ln w="25400">
              <a:solidFill>
                <a:srgbClr val="0070C0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34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2B42A618-CC2C-4A35-B51A-F680DC3B654F}"/>
                </a:ext>
              </a:extLst>
            </p:cNvPr>
            <p:cNvSpPr/>
            <p:nvPr/>
          </p:nvSpPr>
          <p:spPr>
            <a:xfrm>
              <a:off x="1154338" y="3010564"/>
              <a:ext cx="681928" cy="1971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MS PGothic" panose="020B0600070205080204" pitchFamily="34" charset="-128"/>
                  <a:cs typeface="Segoe UI Semibold" panose="020B0702040204020203" pitchFamily="34" charset="0"/>
                </a:rPr>
                <a:t>Jenkins</a:t>
              </a: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6409EC1B-9213-475A-8724-ACAC01C14E7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84310" y="994270"/>
            <a:ext cx="755689" cy="583823"/>
          </a:xfrm>
          <a:prstGeom prst="rect">
            <a:avLst/>
          </a:prstGeom>
        </p:spPr>
      </p:pic>
      <p:sp>
        <p:nvSpPr>
          <p:cNvPr id="168" name="TextBox 167">
            <a:extLst>
              <a:ext uri="{FF2B5EF4-FFF2-40B4-BE49-F238E27FC236}">
                <a16:creationId xmlns:a16="http://schemas.microsoft.com/office/drawing/2014/main" id="{BAF7B48A-AA89-4184-8089-CCEA928EAFC5}"/>
              </a:ext>
            </a:extLst>
          </p:cNvPr>
          <p:cNvSpPr txBox="1"/>
          <p:nvPr/>
        </p:nvSpPr>
        <p:spPr>
          <a:xfrm>
            <a:off x="10321914" y="724942"/>
            <a:ext cx="1253794" cy="21544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Build pipeline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4FDEF607-93E1-49AB-9E55-4FE9234063CF}"/>
              </a:ext>
            </a:extLst>
          </p:cNvPr>
          <p:cNvCxnSpPr>
            <a:stCxn id="161" idx="2"/>
          </p:cNvCxnSpPr>
          <p:nvPr/>
        </p:nvCxnSpPr>
        <p:spPr bwMode="auto">
          <a:xfrm flipH="1">
            <a:off x="10962154" y="1865329"/>
            <a:ext cx="2" cy="645859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76531BB0-DE1A-418E-83CE-80524C32977A}"/>
              </a:ext>
            </a:extLst>
          </p:cNvPr>
          <p:cNvGrpSpPr/>
          <p:nvPr/>
        </p:nvGrpSpPr>
        <p:grpSpPr>
          <a:xfrm>
            <a:off x="10417548" y="2511188"/>
            <a:ext cx="1227831" cy="928078"/>
            <a:chOff x="775169" y="2514863"/>
            <a:chExt cx="1331927" cy="792656"/>
          </a:xfrm>
        </p:grpSpPr>
        <p:sp>
          <p:nvSpPr>
            <p:cNvPr id="175" name="Rectangle: Rounded Corners 283">
              <a:extLst>
                <a:ext uri="{FF2B5EF4-FFF2-40B4-BE49-F238E27FC236}">
                  <a16:creationId xmlns:a16="http://schemas.microsoft.com/office/drawing/2014/main" id="{FB8163AA-053A-4C13-B0B0-41FFFFAE2FA8}"/>
                </a:ext>
              </a:extLst>
            </p:cNvPr>
            <p:cNvSpPr/>
            <p:nvPr/>
          </p:nvSpPr>
          <p:spPr bwMode="auto">
            <a:xfrm>
              <a:off x="775169" y="2514863"/>
              <a:ext cx="1331927" cy="792656"/>
            </a:xfrm>
            <a:prstGeom prst="roundRect">
              <a:avLst/>
            </a:prstGeom>
            <a:noFill/>
            <a:ln w="25400">
              <a:solidFill>
                <a:srgbClr val="0070C0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34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3C9B02D-2A9F-411D-8584-7F7FCD12F336}"/>
                </a:ext>
              </a:extLst>
            </p:cNvPr>
            <p:cNvSpPr/>
            <p:nvPr/>
          </p:nvSpPr>
          <p:spPr>
            <a:xfrm>
              <a:off x="1043186" y="2984835"/>
              <a:ext cx="988331" cy="3154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MS PGothic" panose="020B0600070205080204" pitchFamily="34" charset="-128"/>
                  <a:cs typeface="Segoe UI Semibold" panose="020B0702040204020203" pitchFamily="34" charset="0"/>
                </a:rPr>
                <a:t>Code Coverage</a:t>
              </a:r>
            </a:p>
          </p:txBody>
        </p:sp>
      </p:grpSp>
      <p:pic>
        <p:nvPicPr>
          <p:cNvPr id="37" name="Picture 36">
            <a:extLst>
              <a:ext uri="{FF2B5EF4-FFF2-40B4-BE49-F238E27FC236}">
                <a16:creationId xmlns:a16="http://schemas.microsoft.com/office/drawing/2014/main" id="{CEF8E7FB-1106-4402-9AF9-38E9B1BE2C3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783590" y="2556513"/>
            <a:ext cx="666784" cy="462652"/>
          </a:xfrm>
          <a:prstGeom prst="rect">
            <a:avLst/>
          </a:prstGeom>
        </p:spPr>
      </p:pic>
      <p:sp>
        <p:nvSpPr>
          <p:cNvPr id="177" name="TextBox 176">
            <a:extLst>
              <a:ext uri="{FF2B5EF4-FFF2-40B4-BE49-F238E27FC236}">
                <a16:creationId xmlns:a16="http://schemas.microsoft.com/office/drawing/2014/main" id="{79790710-5DF3-4DA9-9DCC-F7A925AFB2D0}"/>
              </a:ext>
            </a:extLst>
          </p:cNvPr>
          <p:cNvSpPr txBox="1"/>
          <p:nvPr/>
        </p:nvSpPr>
        <p:spPr>
          <a:xfrm>
            <a:off x="8522724" y="2098932"/>
            <a:ext cx="1253794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Docker will create an image/container. 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6B1B3795-754F-41FF-A514-1E178A20CAE6}"/>
              </a:ext>
            </a:extLst>
          </p:cNvPr>
          <p:cNvCxnSpPr>
            <a:cxnSpLocks/>
            <a:stCxn id="175" idx="1"/>
            <a:endCxn id="179" idx="3"/>
          </p:cNvCxnSpPr>
          <p:nvPr/>
        </p:nvCxnSpPr>
        <p:spPr bwMode="auto">
          <a:xfrm flipH="1">
            <a:off x="9763537" y="2975227"/>
            <a:ext cx="654011" cy="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7BBBF411-CB2B-4160-A9BB-8C711BFFF1D6}"/>
              </a:ext>
            </a:extLst>
          </p:cNvPr>
          <p:cNvGrpSpPr/>
          <p:nvPr/>
        </p:nvGrpSpPr>
        <p:grpSpPr>
          <a:xfrm>
            <a:off x="8535706" y="2511187"/>
            <a:ext cx="1227831" cy="928078"/>
            <a:chOff x="775169" y="2514863"/>
            <a:chExt cx="1331927" cy="792656"/>
          </a:xfrm>
        </p:grpSpPr>
        <p:sp>
          <p:nvSpPr>
            <p:cNvPr id="179" name="Rectangle: Rounded Corners 283">
              <a:extLst>
                <a:ext uri="{FF2B5EF4-FFF2-40B4-BE49-F238E27FC236}">
                  <a16:creationId xmlns:a16="http://schemas.microsoft.com/office/drawing/2014/main" id="{97AAEE3C-3A22-4158-91C6-77C8DF600674}"/>
                </a:ext>
              </a:extLst>
            </p:cNvPr>
            <p:cNvSpPr/>
            <p:nvPr/>
          </p:nvSpPr>
          <p:spPr bwMode="auto">
            <a:xfrm>
              <a:off x="775169" y="2514863"/>
              <a:ext cx="1331927" cy="792656"/>
            </a:xfrm>
            <a:prstGeom prst="roundRect">
              <a:avLst/>
            </a:prstGeom>
            <a:noFill/>
            <a:ln w="25400">
              <a:solidFill>
                <a:srgbClr val="0070C0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34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5A326069-14C7-404F-A79B-0B3A8510B7C3}"/>
                </a:ext>
              </a:extLst>
            </p:cNvPr>
            <p:cNvSpPr/>
            <p:nvPr/>
          </p:nvSpPr>
          <p:spPr>
            <a:xfrm>
              <a:off x="1085455" y="2966179"/>
              <a:ext cx="681928" cy="1971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MS PGothic" panose="020B0600070205080204" pitchFamily="34" charset="-128"/>
                  <a:cs typeface="Segoe UI Semibold" panose="020B0702040204020203" pitchFamily="34" charset="0"/>
                </a:rPr>
                <a:t>Docker</a:t>
              </a:r>
            </a:p>
          </p:txBody>
        </p: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6DD28B5F-6281-491F-9718-0430D346A32C}"/>
              </a:ext>
            </a:extLst>
          </p:cNvPr>
          <p:cNvSpPr txBox="1"/>
          <p:nvPr/>
        </p:nvSpPr>
        <p:spPr>
          <a:xfrm>
            <a:off x="6736603" y="2013569"/>
            <a:ext cx="1253794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Docker Image will push to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JFrog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repo</a:t>
            </a:r>
          </a:p>
        </p:txBody>
      </p:sp>
      <p:cxnSp>
        <p:nvCxnSpPr>
          <p:cNvPr id="182" name="Straight Arrow Connector 181">
            <a:extLst>
              <a:ext uri="{FF2B5EF4-FFF2-40B4-BE49-F238E27FC236}">
                <a16:creationId xmlns:a16="http://schemas.microsoft.com/office/drawing/2014/main" id="{8F270534-F9E6-46DF-8157-51DC9F77BC0C}"/>
              </a:ext>
            </a:extLst>
          </p:cNvPr>
          <p:cNvCxnSpPr>
            <a:cxnSpLocks/>
            <a:endCxn id="187" idx="3"/>
          </p:cNvCxnSpPr>
          <p:nvPr/>
        </p:nvCxnSpPr>
        <p:spPr bwMode="auto">
          <a:xfrm flipH="1">
            <a:off x="8004470" y="2943138"/>
            <a:ext cx="489084" cy="1012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E2EF2507-0B19-42BB-A4C6-F3547D76B58B}"/>
              </a:ext>
            </a:extLst>
          </p:cNvPr>
          <p:cNvGrpSpPr/>
          <p:nvPr/>
        </p:nvGrpSpPr>
        <p:grpSpPr>
          <a:xfrm>
            <a:off x="5086045" y="2521688"/>
            <a:ext cx="1234552" cy="945534"/>
            <a:chOff x="775169" y="2514863"/>
            <a:chExt cx="1339218" cy="807565"/>
          </a:xfrm>
        </p:grpSpPr>
        <p:sp>
          <p:nvSpPr>
            <p:cNvPr id="184" name="Rectangle: Rounded Corners 283">
              <a:extLst>
                <a:ext uri="{FF2B5EF4-FFF2-40B4-BE49-F238E27FC236}">
                  <a16:creationId xmlns:a16="http://schemas.microsoft.com/office/drawing/2014/main" id="{5D6DD43C-24CB-47B0-A13A-A350CA7E3D40}"/>
                </a:ext>
              </a:extLst>
            </p:cNvPr>
            <p:cNvSpPr/>
            <p:nvPr/>
          </p:nvSpPr>
          <p:spPr bwMode="auto">
            <a:xfrm>
              <a:off x="775169" y="2514863"/>
              <a:ext cx="1331927" cy="792656"/>
            </a:xfrm>
            <a:prstGeom prst="roundRect">
              <a:avLst/>
            </a:prstGeom>
            <a:noFill/>
            <a:ln w="25400">
              <a:solidFill>
                <a:srgbClr val="0070C0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34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C48310FF-C66A-46F7-99CD-14B6E903C2AC}"/>
                </a:ext>
              </a:extLst>
            </p:cNvPr>
            <p:cNvSpPr/>
            <p:nvPr/>
          </p:nvSpPr>
          <p:spPr>
            <a:xfrm>
              <a:off x="1137502" y="3006988"/>
              <a:ext cx="976885" cy="3154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MS PGothic" panose="020B0600070205080204" pitchFamily="34" charset="-128"/>
                  <a:cs typeface="Segoe UI Semibold" panose="020B0702040204020203" pitchFamily="34" charset="0"/>
                </a:rPr>
                <a:t>Azure Staging</a:t>
              </a:r>
            </a:p>
          </p:txBody>
        </p:sp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5776F198-BE44-4914-AEC0-F45CB841F619}"/>
              </a:ext>
            </a:extLst>
          </p:cNvPr>
          <p:cNvGrpSpPr/>
          <p:nvPr/>
        </p:nvGrpSpPr>
        <p:grpSpPr>
          <a:xfrm>
            <a:off x="6776639" y="2489218"/>
            <a:ext cx="1227831" cy="928078"/>
            <a:chOff x="775169" y="2514863"/>
            <a:chExt cx="1331927" cy="792656"/>
          </a:xfrm>
        </p:grpSpPr>
        <p:sp>
          <p:nvSpPr>
            <p:cNvPr id="187" name="Rectangle: Rounded Corners 283">
              <a:extLst>
                <a:ext uri="{FF2B5EF4-FFF2-40B4-BE49-F238E27FC236}">
                  <a16:creationId xmlns:a16="http://schemas.microsoft.com/office/drawing/2014/main" id="{089F188F-FCC7-40C4-8116-8ADF64C5C629}"/>
                </a:ext>
              </a:extLst>
            </p:cNvPr>
            <p:cNvSpPr/>
            <p:nvPr/>
          </p:nvSpPr>
          <p:spPr bwMode="auto">
            <a:xfrm>
              <a:off x="775169" y="2514863"/>
              <a:ext cx="1331927" cy="792656"/>
            </a:xfrm>
            <a:prstGeom prst="roundRect">
              <a:avLst/>
            </a:prstGeom>
            <a:noFill/>
            <a:ln w="25400">
              <a:solidFill>
                <a:srgbClr val="0070C0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34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8EFDD5B3-76EC-4067-88B8-8013FBAA763D}"/>
                </a:ext>
              </a:extLst>
            </p:cNvPr>
            <p:cNvSpPr/>
            <p:nvPr/>
          </p:nvSpPr>
          <p:spPr>
            <a:xfrm>
              <a:off x="1073845" y="2975492"/>
              <a:ext cx="808853" cy="1971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MS PGothic" panose="020B0600070205080204" pitchFamily="34" charset="-128"/>
                  <a:cs typeface="Segoe UI Semibold" panose="020B0702040204020203" pitchFamily="34" charset="0"/>
                </a:rPr>
                <a:t>Repository</a:t>
              </a:r>
            </a:p>
          </p:txBody>
        </p:sp>
      </p:grpSp>
      <p:cxnSp>
        <p:nvCxnSpPr>
          <p:cNvPr id="190" name="Straight Arrow Connector 189">
            <a:extLst>
              <a:ext uri="{FF2B5EF4-FFF2-40B4-BE49-F238E27FC236}">
                <a16:creationId xmlns:a16="http://schemas.microsoft.com/office/drawing/2014/main" id="{F53625F9-649F-4372-8879-FDECC7970054}"/>
              </a:ext>
            </a:extLst>
          </p:cNvPr>
          <p:cNvCxnSpPr>
            <a:cxnSpLocks/>
            <a:stCxn id="187" idx="1"/>
          </p:cNvCxnSpPr>
          <p:nvPr/>
        </p:nvCxnSpPr>
        <p:spPr bwMode="auto">
          <a:xfrm flipH="1">
            <a:off x="6266611" y="2953257"/>
            <a:ext cx="510028" cy="10266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703EA5EC-2EEC-47BF-BF8C-D32AE3E42082}"/>
              </a:ext>
            </a:extLst>
          </p:cNvPr>
          <p:cNvGrpSpPr/>
          <p:nvPr/>
        </p:nvGrpSpPr>
        <p:grpSpPr>
          <a:xfrm>
            <a:off x="3262107" y="2511187"/>
            <a:ext cx="1227831" cy="928078"/>
            <a:chOff x="775169" y="2514863"/>
            <a:chExt cx="1331927" cy="792656"/>
          </a:xfrm>
        </p:grpSpPr>
        <p:sp>
          <p:nvSpPr>
            <p:cNvPr id="192" name="Rectangle: Rounded Corners 283">
              <a:extLst>
                <a:ext uri="{FF2B5EF4-FFF2-40B4-BE49-F238E27FC236}">
                  <a16:creationId xmlns:a16="http://schemas.microsoft.com/office/drawing/2014/main" id="{32C79E73-B57E-46B7-BFE4-91CE0755573B}"/>
                </a:ext>
              </a:extLst>
            </p:cNvPr>
            <p:cNvSpPr/>
            <p:nvPr/>
          </p:nvSpPr>
          <p:spPr bwMode="auto">
            <a:xfrm>
              <a:off x="775169" y="2514863"/>
              <a:ext cx="1331927" cy="792656"/>
            </a:xfrm>
            <a:prstGeom prst="roundRect">
              <a:avLst/>
            </a:prstGeom>
            <a:noFill/>
            <a:ln w="25400">
              <a:solidFill>
                <a:srgbClr val="0070C0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34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3" name="Rectangle 192">
              <a:extLst>
                <a:ext uri="{FF2B5EF4-FFF2-40B4-BE49-F238E27FC236}">
                  <a16:creationId xmlns:a16="http://schemas.microsoft.com/office/drawing/2014/main" id="{EC9C6DCE-F1F4-44AF-B810-1D3C1DBB0DB3}"/>
                </a:ext>
              </a:extLst>
            </p:cNvPr>
            <p:cNvSpPr/>
            <p:nvPr/>
          </p:nvSpPr>
          <p:spPr>
            <a:xfrm>
              <a:off x="1140632" y="2993438"/>
              <a:ext cx="681928" cy="1971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endParaRPr>
            </a:p>
          </p:txBody>
        </p:sp>
      </p:grpSp>
      <p:pic>
        <p:nvPicPr>
          <p:cNvPr id="196" name="Picture 195">
            <a:extLst>
              <a:ext uri="{FF2B5EF4-FFF2-40B4-BE49-F238E27FC236}">
                <a16:creationId xmlns:a16="http://schemas.microsoft.com/office/drawing/2014/main" id="{BFC6EE6C-B3E1-48EF-961B-13CF6EB586E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87244" y="2628926"/>
            <a:ext cx="1117657" cy="324332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9F4A3125-DDDB-402A-AD66-31835625772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441640" y="2640237"/>
            <a:ext cx="1134068" cy="313022"/>
          </a:xfrm>
          <a:prstGeom prst="rect">
            <a:avLst/>
          </a:prstGeom>
        </p:spPr>
      </p:pic>
      <p:sp>
        <p:nvSpPr>
          <p:cNvPr id="198" name="TextBox 197">
            <a:extLst>
              <a:ext uri="{FF2B5EF4-FFF2-40B4-BE49-F238E27FC236}">
                <a16:creationId xmlns:a16="http://schemas.microsoft.com/office/drawing/2014/main" id="{824AB90A-822E-46B6-A3F3-53AB8AF568E1}"/>
              </a:ext>
            </a:extLst>
          </p:cNvPr>
          <p:cNvSpPr txBox="1"/>
          <p:nvPr/>
        </p:nvSpPr>
        <p:spPr>
          <a:xfrm>
            <a:off x="9821287" y="1929395"/>
            <a:ext cx="1253794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Build Success. 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1689B8BA-422F-4280-AF15-3830F32A5AFE}"/>
              </a:ext>
            </a:extLst>
          </p:cNvPr>
          <p:cNvSpPr txBox="1"/>
          <p:nvPr/>
        </p:nvSpPr>
        <p:spPr>
          <a:xfrm>
            <a:off x="5033084" y="2100166"/>
            <a:ext cx="1430391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Take latest docker images and deploy it to any Azure Resources</a:t>
            </a:r>
          </a:p>
        </p:txBody>
      </p:sp>
      <p:cxnSp>
        <p:nvCxnSpPr>
          <p:cNvPr id="201" name="Straight Arrow Connector 200">
            <a:extLst>
              <a:ext uri="{FF2B5EF4-FFF2-40B4-BE49-F238E27FC236}">
                <a16:creationId xmlns:a16="http://schemas.microsoft.com/office/drawing/2014/main" id="{68543B4A-E70C-4157-987C-3C3F03506511}"/>
              </a:ext>
            </a:extLst>
          </p:cNvPr>
          <p:cNvCxnSpPr>
            <a:cxnSpLocks/>
          </p:cNvCxnSpPr>
          <p:nvPr/>
        </p:nvCxnSpPr>
        <p:spPr bwMode="auto">
          <a:xfrm flipH="1">
            <a:off x="4489938" y="2943138"/>
            <a:ext cx="596107" cy="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02" name="TextBox 201">
            <a:extLst>
              <a:ext uri="{FF2B5EF4-FFF2-40B4-BE49-F238E27FC236}">
                <a16:creationId xmlns:a16="http://schemas.microsoft.com/office/drawing/2014/main" id="{693AB493-EF9A-4A83-8422-BFB2F5FB1578}"/>
              </a:ext>
            </a:extLst>
          </p:cNvPr>
          <p:cNvSpPr txBox="1"/>
          <p:nvPr/>
        </p:nvSpPr>
        <p:spPr>
          <a:xfrm>
            <a:off x="2921606" y="2049522"/>
            <a:ext cx="1798313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Raise a Pull Request to merge from staging to main/prod branch</a:t>
            </a:r>
          </a:p>
        </p:txBody>
      </p:sp>
      <p:sp>
        <p:nvSpPr>
          <p:cNvPr id="204" name="Rectangle: Rounded Corners 283">
            <a:extLst>
              <a:ext uri="{FF2B5EF4-FFF2-40B4-BE49-F238E27FC236}">
                <a16:creationId xmlns:a16="http://schemas.microsoft.com/office/drawing/2014/main" id="{9F62386D-E24B-4A63-BB23-73E0DFDEE0CE}"/>
              </a:ext>
            </a:extLst>
          </p:cNvPr>
          <p:cNvSpPr/>
          <p:nvPr/>
        </p:nvSpPr>
        <p:spPr bwMode="auto">
          <a:xfrm>
            <a:off x="1708282" y="2499484"/>
            <a:ext cx="983527" cy="928078"/>
          </a:xfrm>
          <a:prstGeom prst="roundRect">
            <a:avLst/>
          </a:prstGeom>
          <a:noFill/>
          <a:ln w="25400">
            <a:solidFill>
              <a:srgbClr val="0070C0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3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Calibr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206" name="Straight Arrow Connector 205">
            <a:extLst>
              <a:ext uri="{FF2B5EF4-FFF2-40B4-BE49-F238E27FC236}">
                <a16:creationId xmlns:a16="http://schemas.microsoft.com/office/drawing/2014/main" id="{48223FD2-4B4F-4C19-8DB0-1A3C53C14C6A}"/>
              </a:ext>
            </a:extLst>
          </p:cNvPr>
          <p:cNvCxnSpPr>
            <a:cxnSpLocks/>
          </p:cNvCxnSpPr>
          <p:nvPr/>
        </p:nvCxnSpPr>
        <p:spPr bwMode="auto">
          <a:xfrm flipH="1">
            <a:off x="2651948" y="2923458"/>
            <a:ext cx="596107" cy="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768F74C7-79D7-4866-82CA-C9412239D9D5}"/>
              </a:ext>
            </a:extLst>
          </p:cNvPr>
          <p:cNvSpPr/>
          <p:nvPr/>
        </p:nvSpPr>
        <p:spPr>
          <a:xfrm>
            <a:off x="6096000" y="1475239"/>
            <a:ext cx="62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Re-view pass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8E200C7F-B627-4B2D-9981-08F99FD55E23}"/>
              </a:ext>
            </a:extLst>
          </p:cNvPr>
          <p:cNvCxnSpPr>
            <a:cxnSpLocks/>
          </p:cNvCxnSpPr>
          <p:nvPr/>
        </p:nvCxnSpPr>
        <p:spPr bwMode="auto">
          <a:xfrm flipV="1">
            <a:off x="6349130" y="673411"/>
            <a:ext cx="6801" cy="664979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687E0F17-413D-47A0-8D45-61AA364B8FDA}"/>
              </a:ext>
            </a:extLst>
          </p:cNvPr>
          <p:cNvSpPr txBox="1"/>
          <p:nvPr/>
        </p:nvSpPr>
        <p:spPr>
          <a:xfrm>
            <a:off x="3732854" y="367370"/>
            <a:ext cx="2106975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If code review fails an email will send to developer to recheck the code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C39AA65C-D0F6-45F3-8365-9470ABA11BC8}"/>
              </a:ext>
            </a:extLst>
          </p:cNvPr>
          <p:cNvSpPr/>
          <p:nvPr/>
        </p:nvSpPr>
        <p:spPr>
          <a:xfrm>
            <a:off x="6103809" y="182646"/>
            <a:ext cx="62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Re-view fails</a:t>
            </a:r>
          </a:p>
        </p:txBody>
      </p: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1B4D7EAC-9E95-4DAD-A37D-5473B5266BD7}"/>
              </a:ext>
            </a:extLst>
          </p:cNvPr>
          <p:cNvCxnSpPr>
            <a:cxnSpLocks/>
            <a:stCxn id="161" idx="3"/>
          </p:cNvCxnSpPr>
          <p:nvPr/>
        </p:nvCxnSpPr>
        <p:spPr bwMode="auto">
          <a:xfrm flipV="1">
            <a:off x="11576071" y="1397771"/>
            <a:ext cx="392742" cy="3519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DBBE0B30-4DB2-4E92-A4F9-732B9B81180A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11942487" y="364730"/>
            <a:ext cx="25870" cy="1022157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8E415994-9CBD-4C1F-A856-E9423A8FBA5D}"/>
              </a:ext>
            </a:extLst>
          </p:cNvPr>
          <p:cNvSpPr txBox="1"/>
          <p:nvPr/>
        </p:nvSpPr>
        <p:spPr>
          <a:xfrm>
            <a:off x="8821742" y="3406602"/>
            <a:ext cx="2196281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If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SQube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pass, results will export in dashboard and selenium testing will start if applicable</a:t>
            </a:r>
          </a:p>
        </p:txBody>
      </p:sp>
      <p:sp>
        <p:nvSpPr>
          <p:cNvPr id="91" name="Rectangle: Rounded Corners 283">
            <a:extLst>
              <a:ext uri="{FF2B5EF4-FFF2-40B4-BE49-F238E27FC236}">
                <a16:creationId xmlns:a16="http://schemas.microsoft.com/office/drawing/2014/main" id="{BC5E2C82-5449-4E02-B022-1DF4F3C64965}"/>
              </a:ext>
            </a:extLst>
          </p:cNvPr>
          <p:cNvSpPr/>
          <p:nvPr/>
        </p:nvSpPr>
        <p:spPr bwMode="auto">
          <a:xfrm>
            <a:off x="9800004" y="193319"/>
            <a:ext cx="1998569" cy="488898"/>
          </a:xfrm>
          <a:prstGeom prst="roundRect">
            <a:avLst/>
          </a:prstGeom>
          <a:noFill/>
          <a:ln w="25400">
            <a:solidFill>
              <a:srgbClr val="0070C0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3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Calibr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7C5AA889-68F2-49EF-B778-3B7CB801727C}"/>
              </a:ext>
            </a:extLst>
          </p:cNvPr>
          <p:cNvCxnSpPr>
            <a:cxnSpLocks/>
            <a:endCxn id="91" idx="3"/>
          </p:cNvCxnSpPr>
          <p:nvPr/>
        </p:nvCxnSpPr>
        <p:spPr bwMode="auto">
          <a:xfrm flipH="1">
            <a:off x="11798573" y="382891"/>
            <a:ext cx="143914" cy="54877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F008BC0-1F95-4E1B-A18B-CA4C3F4D626B}"/>
              </a:ext>
            </a:extLst>
          </p:cNvPr>
          <p:cNvCxnSpPr/>
          <p:nvPr/>
        </p:nvCxnSpPr>
        <p:spPr bwMode="auto">
          <a:xfrm flipH="1">
            <a:off x="3248055" y="182646"/>
            <a:ext cx="6515482" cy="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1579BADB-D115-4359-8C97-F85FEA06DDE9}"/>
              </a:ext>
            </a:extLst>
          </p:cNvPr>
          <p:cNvCxnSpPr/>
          <p:nvPr/>
        </p:nvCxnSpPr>
        <p:spPr bwMode="auto">
          <a:xfrm>
            <a:off x="3248055" y="182646"/>
            <a:ext cx="0" cy="728482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2" name="Rectangle 101">
            <a:extLst>
              <a:ext uri="{FF2B5EF4-FFF2-40B4-BE49-F238E27FC236}">
                <a16:creationId xmlns:a16="http://schemas.microsoft.com/office/drawing/2014/main" id="{A3E28855-36E4-4232-B7F1-B64976BB2AB8}"/>
              </a:ext>
            </a:extLst>
          </p:cNvPr>
          <p:cNvSpPr/>
          <p:nvPr/>
        </p:nvSpPr>
        <p:spPr>
          <a:xfrm>
            <a:off x="11587316" y="1567787"/>
            <a:ext cx="62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Build failed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5F8DED5-6FDC-49E3-9D85-2409B30AE8D3}"/>
              </a:ext>
            </a:extLst>
          </p:cNvPr>
          <p:cNvCxnSpPr>
            <a:cxnSpLocks/>
            <a:endCxn id="85" idx="2"/>
          </p:cNvCxnSpPr>
          <p:nvPr/>
        </p:nvCxnSpPr>
        <p:spPr bwMode="auto">
          <a:xfrm flipH="1">
            <a:off x="3334666" y="673412"/>
            <a:ext cx="3002656" cy="17256"/>
          </a:xfrm>
          <a:prstGeom prst="line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5" name="Rectangle 114">
            <a:extLst>
              <a:ext uri="{FF2B5EF4-FFF2-40B4-BE49-F238E27FC236}">
                <a16:creationId xmlns:a16="http://schemas.microsoft.com/office/drawing/2014/main" id="{E3890BB0-8D4E-477F-B9EE-F538A2FEB6FA}"/>
              </a:ext>
            </a:extLst>
          </p:cNvPr>
          <p:cNvSpPr/>
          <p:nvPr/>
        </p:nvSpPr>
        <p:spPr>
          <a:xfrm>
            <a:off x="9819552" y="2574450"/>
            <a:ext cx="62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SQube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pass</a:t>
            </a:r>
          </a:p>
        </p:txBody>
      </p: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16047606-6DB4-421D-8A3F-F36C65BEE230}"/>
              </a:ext>
            </a:extLst>
          </p:cNvPr>
          <p:cNvCxnSpPr>
            <a:cxnSpLocks/>
          </p:cNvCxnSpPr>
          <p:nvPr/>
        </p:nvCxnSpPr>
        <p:spPr bwMode="auto">
          <a:xfrm>
            <a:off x="11031465" y="3449767"/>
            <a:ext cx="0" cy="436433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7EE9C6A-5ADB-440C-A184-61239544CD73}"/>
              </a:ext>
            </a:extLst>
          </p:cNvPr>
          <p:cNvSpPr/>
          <p:nvPr/>
        </p:nvSpPr>
        <p:spPr>
          <a:xfrm>
            <a:off x="11015032" y="3538979"/>
            <a:ext cx="62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SQube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fails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D6C9FCB4-30EF-4BF3-AB9C-B5EFC9086973}"/>
              </a:ext>
            </a:extLst>
          </p:cNvPr>
          <p:cNvCxnSpPr/>
          <p:nvPr/>
        </p:nvCxnSpPr>
        <p:spPr bwMode="auto">
          <a:xfrm>
            <a:off x="11008674" y="3886200"/>
            <a:ext cx="1083063" cy="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AC4BCFB3-FF99-43B4-B176-75F78E75F358}"/>
              </a:ext>
            </a:extLst>
          </p:cNvPr>
          <p:cNvCxnSpPr/>
          <p:nvPr/>
        </p:nvCxnSpPr>
        <p:spPr bwMode="auto">
          <a:xfrm flipV="1">
            <a:off x="12091737" y="193319"/>
            <a:ext cx="0" cy="3692881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A3301622-8709-463B-8991-D9CDFFED958E}"/>
              </a:ext>
            </a:extLst>
          </p:cNvPr>
          <p:cNvCxnSpPr/>
          <p:nvPr/>
        </p:nvCxnSpPr>
        <p:spPr bwMode="auto">
          <a:xfrm flipH="1">
            <a:off x="11772442" y="193319"/>
            <a:ext cx="319295" cy="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61" name="Picture 60">
            <a:extLst>
              <a:ext uri="{FF2B5EF4-FFF2-40B4-BE49-F238E27FC236}">
                <a16:creationId xmlns:a16="http://schemas.microsoft.com/office/drawing/2014/main" id="{3D962BDE-3358-4C11-A66F-4855D4CE92F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379521" y="2561035"/>
            <a:ext cx="652196" cy="507831"/>
          </a:xfrm>
          <a:prstGeom prst="rect">
            <a:avLst/>
          </a:prstGeom>
        </p:spPr>
      </p:pic>
      <p:sp>
        <p:nvSpPr>
          <p:cNvPr id="138" name="TextBox 137">
            <a:extLst>
              <a:ext uri="{FF2B5EF4-FFF2-40B4-BE49-F238E27FC236}">
                <a16:creationId xmlns:a16="http://schemas.microsoft.com/office/drawing/2014/main" id="{CE75DE24-6EF7-4EC1-A3A0-D37BF2074814}"/>
              </a:ext>
            </a:extLst>
          </p:cNvPr>
          <p:cNvSpPr txBox="1"/>
          <p:nvPr/>
        </p:nvSpPr>
        <p:spPr>
          <a:xfrm>
            <a:off x="9791429" y="239665"/>
            <a:ext cx="2106975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If fails, an email notification will be sent to user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D14C0E72-CFF7-4706-9E88-BECEBFAFEA94}"/>
              </a:ext>
            </a:extLst>
          </p:cNvPr>
          <p:cNvSpPr txBox="1"/>
          <p:nvPr/>
        </p:nvSpPr>
        <p:spPr>
          <a:xfrm>
            <a:off x="4414306" y="3004228"/>
            <a:ext cx="798822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Azure Resources like Logic Apps, AKS, Web Apps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1B3D9583-9195-4513-A030-FE9B917E00E0}"/>
              </a:ext>
            </a:extLst>
          </p:cNvPr>
          <p:cNvSpPr/>
          <p:nvPr/>
        </p:nvSpPr>
        <p:spPr>
          <a:xfrm>
            <a:off x="4521092" y="2499484"/>
            <a:ext cx="62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Staging pass</a:t>
            </a:r>
          </a:p>
        </p:txBody>
      </p: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id="{3452F658-B838-4095-939B-C04EC3335795}"/>
              </a:ext>
            </a:extLst>
          </p:cNvPr>
          <p:cNvCxnSpPr>
            <a:cxnSpLocks/>
          </p:cNvCxnSpPr>
          <p:nvPr/>
        </p:nvCxnSpPr>
        <p:spPr bwMode="auto">
          <a:xfrm>
            <a:off x="5839829" y="3449766"/>
            <a:ext cx="0" cy="436433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3B7C349F-8B15-4D05-8A23-9CB3BA133561}"/>
              </a:ext>
            </a:extLst>
          </p:cNvPr>
          <p:cNvCxnSpPr>
            <a:cxnSpLocks/>
          </p:cNvCxnSpPr>
          <p:nvPr/>
        </p:nvCxnSpPr>
        <p:spPr bwMode="auto">
          <a:xfrm flipV="1">
            <a:off x="5839828" y="3886199"/>
            <a:ext cx="5191637" cy="18544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46" name="Rectangle 145">
            <a:extLst>
              <a:ext uri="{FF2B5EF4-FFF2-40B4-BE49-F238E27FC236}">
                <a16:creationId xmlns:a16="http://schemas.microsoft.com/office/drawing/2014/main" id="{EB4416F9-D3BA-4827-99F2-8A285F5134A9}"/>
              </a:ext>
            </a:extLst>
          </p:cNvPr>
          <p:cNvSpPr/>
          <p:nvPr/>
        </p:nvSpPr>
        <p:spPr>
          <a:xfrm>
            <a:off x="5818678" y="3517008"/>
            <a:ext cx="62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Staging fails</a:t>
            </a:r>
          </a:p>
        </p:txBody>
      </p:sp>
      <p:pic>
        <p:nvPicPr>
          <p:cNvPr id="152" name="Picture 151" descr="Bitbucket Pricing Hike Increases Cost Per User by 100% – WP Tavern">
            <a:extLst>
              <a:ext uri="{FF2B5EF4-FFF2-40B4-BE49-F238E27FC236}">
                <a16:creationId xmlns:a16="http://schemas.microsoft.com/office/drawing/2014/main" id="{A34773AE-7D99-4E77-880A-6E767C6983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5234" y="2589874"/>
            <a:ext cx="1135488" cy="283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3" name="Rectangle 152">
            <a:extLst>
              <a:ext uri="{FF2B5EF4-FFF2-40B4-BE49-F238E27FC236}">
                <a16:creationId xmlns:a16="http://schemas.microsoft.com/office/drawing/2014/main" id="{3C571666-06CC-49EF-A0C6-93A23865C4C4}"/>
              </a:ext>
            </a:extLst>
          </p:cNvPr>
          <p:cNvSpPr/>
          <p:nvPr/>
        </p:nvSpPr>
        <p:spPr>
          <a:xfrm>
            <a:off x="3611701" y="2986931"/>
            <a:ext cx="62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PROD Branch</a:t>
            </a:r>
          </a:p>
        </p:txBody>
      </p:sp>
      <p:pic>
        <p:nvPicPr>
          <p:cNvPr id="154" name="Picture 153">
            <a:extLst>
              <a:ext uri="{FF2B5EF4-FFF2-40B4-BE49-F238E27FC236}">
                <a16:creationId xmlns:a16="http://schemas.microsoft.com/office/drawing/2014/main" id="{7CA02DEF-46FA-4CB2-95F4-6A39FF52EA7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99592" y="2556513"/>
            <a:ext cx="755689" cy="583823"/>
          </a:xfrm>
          <a:prstGeom prst="rect">
            <a:avLst/>
          </a:prstGeom>
        </p:spPr>
      </p:pic>
      <p:sp>
        <p:nvSpPr>
          <p:cNvPr id="155" name="Rectangle 154">
            <a:extLst>
              <a:ext uri="{FF2B5EF4-FFF2-40B4-BE49-F238E27FC236}">
                <a16:creationId xmlns:a16="http://schemas.microsoft.com/office/drawing/2014/main" id="{F7D54936-7026-4177-B0FF-D11E5D15DDB0}"/>
              </a:ext>
            </a:extLst>
          </p:cNvPr>
          <p:cNvSpPr/>
          <p:nvPr/>
        </p:nvSpPr>
        <p:spPr>
          <a:xfrm>
            <a:off x="1831557" y="3161387"/>
            <a:ext cx="62863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Jenkins</a:t>
            </a:r>
          </a:p>
        </p:txBody>
      </p:sp>
      <p:cxnSp>
        <p:nvCxnSpPr>
          <p:cNvPr id="156" name="Straight Arrow Connector 155">
            <a:extLst>
              <a:ext uri="{FF2B5EF4-FFF2-40B4-BE49-F238E27FC236}">
                <a16:creationId xmlns:a16="http://schemas.microsoft.com/office/drawing/2014/main" id="{83021799-6F70-457B-AB0E-677E7C163819}"/>
              </a:ext>
            </a:extLst>
          </p:cNvPr>
          <p:cNvCxnSpPr>
            <a:cxnSpLocks/>
          </p:cNvCxnSpPr>
          <p:nvPr/>
        </p:nvCxnSpPr>
        <p:spPr bwMode="auto">
          <a:xfrm flipH="1">
            <a:off x="1112175" y="2950727"/>
            <a:ext cx="596107" cy="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58" name="Straight Arrow Connector 157">
            <a:extLst>
              <a:ext uri="{FF2B5EF4-FFF2-40B4-BE49-F238E27FC236}">
                <a16:creationId xmlns:a16="http://schemas.microsoft.com/office/drawing/2014/main" id="{2CE25AB3-B383-4E06-A159-4F9F10809DAC}"/>
              </a:ext>
            </a:extLst>
          </p:cNvPr>
          <p:cNvCxnSpPr>
            <a:cxnSpLocks/>
          </p:cNvCxnSpPr>
          <p:nvPr/>
        </p:nvCxnSpPr>
        <p:spPr bwMode="auto">
          <a:xfrm>
            <a:off x="2092701" y="3435022"/>
            <a:ext cx="0" cy="436433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A1F0B3BB-48F0-4DD8-B62F-E232F4C2C21C}"/>
              </a:ext>
            </a:extLst>
          </p:cNvPr>
          <p:cNvCxnSpPr/>
          <p:nvPr/>
        </p:nvCxnSpPr>
        <p:spPr bwMode="auto">
          <a:xfrm>
            <a:off x="2092701" y="3868267"/>
            <a:ext cx="3747127" cy="36476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63" name="Rectangle 162">
            <a:extLst>
              <a:ext uri="{FF2B5EF4-FFF2-40B4-BE49-F238E27FC236}">
                <a16:creationId xmlns:a16="http://schemas.microsoft.com/office/drawing/2014/main" id="{0405AC23-D3F8-4079-AC7C-B81F74D6E9DA}"/>
              </a:ext>
            </a:extLst>
          </p:cNvPr>
          <p:cNvSpPr/>
          <p:nvPr/>
        </p:nvSpPr>
        <p:spPr>
          <a:xfrm>
            <a:off x="2170130" y="3452768"/>
            <a:ext cx="62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PROD fails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867CBFE8-C4B5-4D0B-829C-86639BC7A184}"/>
              </a:ext>
            </a:extLst>
          </p:cNvPr>
          <p:cNvSpPr/>
          <p:nvPr/>
        </p:nvSpPr>
        <p:spPr>
          <a:xfrm>
            <a:off x="1247549" y="2398028"/>
            <a:ext cx="62863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PROD build pass</a:t>
            </a:r>
          </a:p>
        </p:txBody>
      </p:sp>
      <p:sp>
        <p:nvSpPr>
          <p:cNvPr id="166" name="Rectangle: Rounded Corners 283">
            <a:extLst>
              <a:ext uri="{FF2B5EF4-FFF2-40B4-BE49-F238E27FC236}">
                <a16:creationId xmlns:a16="http://schemas.microsoft.com/office/drawing/2014/main" id="{1339B9B7-187F-479D-A46D-0539E63DA880}"/>
              </a:ext>
            </a:extLst>
          </p:cNvPr>
          <p:cNvSpPr/>
          <p:nvPr/>
        </p:nvSpPr>
        <p:spPr bwMode="auto">
          <a:xfrm>
            <a:off x="115770" y="2527107"/>
            <a:ext cx="983527" cy="928078"/>
          </a:xfrm>
          <a:prstGeom prst="roundRect">
            <a:avLst/>
          </a:prstGeom>
          <a:noFill/>
          <a:ln w="25400">
            <a:solidFill>
              <a:srgbClr val="0070C0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3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Calibr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67" name="Picture 166">
            <a:extLst>
              <a:ext uri="{FF2B5EF4-FFF2-40B4-BE49-F238E27FC236}">
                <a16:creationId xmlns:a16="http://schemas.microsoft.com/office/drawing/2014/main" id="{9D1D0366-E99C-4619-8558-6487AE0BF56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3534" y="2603813"/>
            <a:ext cx="757282" cy="219755"/>
          </a:xfrm>
          <a:prstGeom prst="rect">
            <a:avLst/>
          </a:prstGeom>
        </p:spPr>
      </p:pic>
      <p:pic>
        <p:nvPicPr>
          <p:cNvPr id="169" name="Picture 168">
            <a:extLst>
              <a:ext uri="{FF2B5EF4-FFF2-40B4-BE49-F238E27FC236}">
                <a16:creationId xmlns:a16="http://schemas.microsoft.com/office/drawing/2014/main" id="{5F6FC96A-D7F7-44CD-9CDD-648D41B5287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5339" y="2924396"/>
            <a:ext cx="437204" cy="310252"/>
          </a:xfrm>
          <a:prstGeom prst="rect">
            <a:avLst/>
          </a:prstGeom>
        </p:spPr>
      </p:pic>
      <p:pic>
        <p:nvPicPr>
          <p:cNvPr id="170" name="Picture 169">
            <a:extLst>
              <a:ext uri="{FF2B5EF4-FFF2-40B4-BE49-F238E27FC236}">
                <a16:creationId xmlns:a16="http://schemas.microsoft.com/office/drawing/2014/main" id="{6D799F3E-52C1-4002-BA32-39F45BD62FA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63572" y="2855961"/>
            <a:ext cx="399004" cy="345165"/>
          </a:xfrm>
          <a:prstGeom prst="rect">
            <a:avLst/>
          </a:prstGeom>
        </p:spPr>
      </p:pic>
      <p:sp>
        <p:nvSpPr>
          <p:cNvPr id="172" name="TextBox 171">
            <a:extLst>
              <a:ext uri="{FF2B5EF4-FFF2-40B4-BE49-F238E27FC236}">
                <a16:creationId xmlns:a16="http://schemas.microsoft.com/office/drawing/2014/main" id="{A88E8739-9207-47A2-A0D1-69908D4227A5}"/>
              </a:ext>
            </a:extLst>
          </p:cNvPr>
          <p:cNvSpPr txBox="1"/>
          <p:nvPr/>
        </p:nvSpPr>
        <p:spPr>
          <a:xfrm>
            <a:off x="-74632" y="3656093"/>
            <a:ext cx="1798313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Pull the latest docker from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jfrog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repo and deploy the same to PROD env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39132228-6480-42F6-99B3-5CC06CA42E5C}"/>
              </a:ext>
            </a:extLst>
          </p:cNvPr>
          <p:cNvSpPr/>
          <p:nvPr/>
        </p:nvSpPr>
        <p:spPr>
          <a:xfrm>
            <a:off x="133534" y="3229501"/>
            <a:ext cx="96288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Azure PROD</a:t>
            </a: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080601F7-3D7A-48C7-B666-EA8215BD72BA}"/>
              </a:ext>
            </a:extLst>
          </p:cNvPr>
          <p:cNvCxnSpPr/>
          <p:nvPr/>
        </p:nvCxnSpPr>
        <p:spPr bwMode="auto">
          <a:xfrm>
            <a:off x="11466095" y="1850928"/>
            <a:ext cx="0" cy="86191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7FC1EA99-F7FC-4712-9D67-50EB73D685B1}"/>
              </a:ext>
            </a:extLst>
          </p:cNvPr>
          <p:cNvCxnSpPr/>
          <p:nvPr/>
        </p:nvCxnSpPr>
        <p:spPr bwMode="auto">
          <a:xfrm>
            <a:off x="11550205" y="3435022"/>
            <a:ext cx="25502" cy="944473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80706197-FD88-423A-88B3-CC99E01DCBA9}"/>
              </a:ext>
            </a:extLst>
          </p:cNvPr>
          <p:cNvCxnSpPr/>
          <p:nvPr/>
        </p:nvCxnSpPr>
        <p:spPr bwMode="auto">
          <a:xfrm flipH="1">
            <a:off x="5694468" y="4319337"/>
            <a:ext cx="5867802" cy="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63E8B986-D77C-4DCE-8ABD-4C87FD55F0E6}"/>
              </a:ext>
            </a:extLst>
          </p:cNvPr>
          <p:cNvCxnSpPr/>
          <p:nvPr/>
        </p:nvCxnSpPr>
        <p:spPr bwMode="auto">
          <a:xfrm flipV="1">
            <a:off x="5699960" y="3467222"/>
            <a:ext cx="0" cy="803989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9" name="TextBox 118">
            <a:extLst>
              <a:ext uri="{FF2B5EF4-FFF2-40B4-BE49-F238E27FC236}">
                <a16:creationId xmlns:a16="http://schemas.microsoft.com/office/drawing/2014/main" id="{BB5FE3DE-BAC3-4FEC-98CB-BAA5CC3ABFA7}"/>
              </a:ext>
            </a:extLst>
          </p:cNvPr>
          <p:cNvSpPr txBox="1"/>
          <p:nvPr/>
        </p:nvSpPr>
        <p:spPr>
          <a:xfrm>
            <a:off x="6995217" y="3938746"/>
            <a:ext cx="1567965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Another method where we can push the code Azure Service</a:t>
            </a:r>
          </a:p>
        </p:txBody>
      </p:sp>
    </p:spTree>
    <p:extLst>
      <p:ext uri="{BB962C8B-B14F-4D97-AF65-F5344CB8AC3E}">
        <p14:creationId xmlns:p14="http://schemas.microsoft.com/office/powerpoint/2010/main" val="19537181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506A01-B35F-4CCC-9789-6ADBCF459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378460"/>
            <a:ext cx="10145760" cy="307777"/>
          </a:xfrm>
        </p:spPr>
        <p:txBody>
          <a:bodyPr/>
          <a:lstStyle/>
          <a:p>
            <a:r>
              <a:rPr lang="en-US" sz="2000" dirty="0"/>
              <a:t>Jenkins Workflow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C371993B-94F9-4F7E-B5E2-070E3930603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61253" y="1601206"/>
            <a:ext cx="330217" cy="395417"/>
          </a:xfr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AC4A0F-95C6-4929-B4CA-EE0A78180D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9714A1-E272-4814-A533-E35AEBF02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F8E93A-FFB9-4AD9-A182-9989529C9C89}" type="slidenum">
              <a:rPr lang="en-US" smtClean="0"/>
              <a:t>2</a:t>
            </a:fld>
            <a:endParaRPr lang="en-US"/>
          </a:p>
        </p:txBody>
      </p:sp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66E916A6-1EE4-46D4-B653-99B1252E7F59}"/>
              </a:ext>
            </a:extLst>
          </p:cNvPr>
          <p:cNvSpPr/>
          <p:nvPr/>
        </p:nvSpPr>
        <p:spPr bwMode="auto">
          <a:xfrm>
            <a:off x="631603" y="1573619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7AE8AC8-B60A-47A2-B115-8626F4793880}"/>
              </a:ext>
            </a:extLst>
          </p:cNvPr>
          <p:cNvSpPr/>
          <p:nvPr/>
        </p:nvSpPr>
        <p:spPr>
          <a:xfrm>
            <a:off x="756592" y="1938211"/>
            <a:ext cx="73953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   User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40987D97-4923-4EE9-8A73-F71E5B498F06}"/>
              </a:ext>
            </a:extLst>
          </p:cNvPr>
          <p:cNvCxnSpPr>
            <a:cxnSpLocks/>
          </p:cNvCxnSpPr>
          <p:nvPr/>
        </p:nvCxnSpPr>
        <p:spPr bwMode="auto">
          <a:xfrm flipV="1">
            <a:off x="1621120" y="1854943"/>
            <a:ext cx="499730" cy="1063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3" name="Rectangle: Diagonal Corners Rounded 12">
            <a:extLst>
              <a:ext uri="{FF2B5EF4-FFF2-40B4-BE49-F238E27FC236}">
                <a16:creationId xmlns:a16="http://schemas.microsoft.com/office/drawing/2014/main" id="{3B00EA35-5DBB-4D98-9DAB-91F0563CDB3F}"/>
              </a:ext>
            </a:extLst>
          </p:cNvPr>
          <p:cNvSpPr/>
          <p:nvPr/>
        </p:nvSpPr>
        <p:spPr bwMode="auto">
          <a:xfrm>
            <a:off x="2115878" y="1573619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0C3C4ED-E480-4584-A773-4DAD957DFF53}"/>
              </a:ext>
            </a:extLst>
          </p:cNvPr>
          <p:cNvCxnSpPr>
            <a:cxnSpLocks/>
          </p:cNvCxnSpPr>
          <p:nvPr/>
        </p:nvCxnSpPr>
        <p:spPr bwMode="auto">
          <a:xfrm flipV="1">
            <a:off x="3100423" y="1865576"/>
            <a:ext cx="499730" cy="1063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5" name="Rectangle: Diagonal Corners Rounded 14">
            <a:extLst>
              <a:ext uri="{FF2B5EF4-FFF2-40B4-BE49-F238E27FC236}">
                <a16:creationId xmlns:a16="http://schemas.microsoft.com/office/drawing/2014/main" id="{DC87D54F-A397-49E4-BB9C-F9AF3CE2785C}"/>
              </a:ext>
            </a:extLst>
          </p:cNvPr>
          <p:cNvSpPr/>
          <p:nvPr/>
        </p:nvSpPr>
        <p:spPr bwMode="auto">
          <a:xfrm>
            <a:off x="3609332" y="1578497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87C03ED-05AB-4ED7-8881-83B9257FC5B5}"/>
              </a:ext>
            </a:extLst>
          </p:cNvPr>
          <p:cNvCxnSpPr>
            <a:cxnSpLocks/>
          </p:cNvCxnSpPr>
          <p:nvPr/>
        </p:nvCxnSpPr>
        <p:spPr bwMode="auto">
          <a:xfrm flipV="1">
            <a:off x="4624668" y="1876209"/>
            <a:ext cx="499730" cy="1063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0" name="Rectangle: Diagonal Corners Rounded 19">
            <a:extLst>
              <a:ext uri="{FF2B5EF4-FFF2-40B4-BE49-F238E27FC236}">
                <a16:creationId xmlns:a16="http://schemas.microsoft.com/office/drawing/2014/main" id="{B49E46DF-7B59-4E90-9D19-EFC7D067D76D}"/>
              </a:ext>
            </a:extLst>
          </p:cNvPr>
          <p:cNvSpPr/>
          <p:nvPr/>
        </p:nvSpPr>
        <p:spPr bwMode="auto">
          <a:xfrm>
            <a:off x="5093606" y="1578497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47EF115D-05B8-43E7-BBA8-BCB9B110EDAC}"/>
              </a:ext>
            </a:extLst>
          </p:cNvPr>
          <p:cNvCxnSpPr>
            <a:cxnSpLocks/>
          </p:cNvCxnSpPr>
          <p:nvPr/>
        </p:nvCxnSpPr>
        <p:spPr bwMode="auto">
          <a:xfrm flipV="1">
            <a:off x="6096000" y="1898917"/>
            <a:ext cx="499730" cy="1063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2" name="Rectangle: Diagonal Corners Rounded 21">
            <a:extLst>
              <a:ext uri="{FF2B5EF4-FFF2-40B4-BE49-F238E27FC236}">
                <a16:creationId xmlns:a16="http://schemas.microsoft.com/office/drawing/2014/main" id="{3CE1BC12-578C-4D92-92ED-2EFCA8AE2225}"/>
              </a:ext>
            </a:extLst>
          </p:cNvPr>
          <p:cNvSpPr/>
          <p:nvPr/>
        </p:nvSpPr>
        <p:spPr bwMode="auto">
          <a:xfrm>
            <a:off x="6577433" y="1601206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A59749A7-D52C-48A1-AA2B-25FAA3AC1C2C}"/>
              </a:ext>
            </a:extLst>
          </p:cNvPr>
          <p:cNvCxnSpPr>
            <a:cxnSpLocks/>
          </p:cNvCxnSpPr>
          <p:nvPr/>
        </p:nvCxnSpPr>
        <p:spPr bwMode="auto">
          <a:xfrm flipV="1">
            <a:off x="7535774" y="1898918"/>
            <a:ext cx="499730" cy="1063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4" name="Rectangle: Diagonal Corners Rounded 23">
            <a:extLst>
              <a:ext uri="{FF2B5EF4-FFF2-40B4-BE49-F238E27FC236}">
                <a16:creationId xmlns:a16="http://schemas.microsoft.com/office/drawing/2014/main" id="{5D901261-F9CC-4484-AA3E-9DC870A3FC54}"/>
              </a:ext>
            </a:extLst>
          </p:cNvPr>
          <p:cNvSpPr/>
          <p:nvPr/>
        </p:nvSpPr>
        <p:spPr bwMode="auto">
          <a:xfrm>
            <a:off x="8011586" y="1601206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8CC72902-6714-47CB-8900-B9DB9FD1C244}"/>
              </a:ext>
            </a:extLst>
          </p:cNvPr>
          <p:cNvCxnSpPr>
            <a:cxnSpLocks/>
          </p:cNvCxnSpPr>
          <p:nvPr/>
        </p:nvCxnSpPr>
        <p:spPr bwMode="auto">
          <a:xfrm flipV="1">
            <a:off x="9001103" y="1927578"/>
            <a:ext cx="499730" cy="1063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6" name="Rectangle: Diagonal Corners Rounded 25">
            <a:extLst>
              <a:ext uri="{FF2B5EF4-FFF2-40B4-BE49-F238E27FC236}">
                <a16:creationId xmlns:a16="http://schemas.microsoft.com/office/drawing/2014/main" id="{9B557A7E-FC25-45F5-B325-FAA02E5D03A4}"/>
              </a:ext>
            </a:extLst>
          </p:cNvPr>
          <p:cNvSpPr/>
          <p:nvPr/>
        </p:nvSpPr>
        <p:spPr bwMode="auto">
          <a:xfrm>
            <a:off x="9426439" y="1578497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pic>
        <p:nvPicPr>
          <p:cNvPr id="27" name="Picture 26" descr="Bitbucket Pricing Hike Increases Cost Per User by 100% – WP Tavern">
            <a:extLst>
              <a:ext uri="{FF2B5EF4-FFF2-40B4-BE49-F238E27FC236}">
                <a16:creationId xmlns:a16="http://schemas.microsoft.com/office/drawing/2014/main" id="{DE841479-A8D4-4ED8-BC08-1B90146D67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4795" y="1664982"/>
            <a:ext cx="808218" cy="205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B7E79403-EB05-4749-B5EC-3554903863D7}"/>
              </a:ext>
            </a:extLst>
          </p:cNvPr>
          <p:cNvSpPr/>
          <p:nvPr/>
        </p:nvSpPr>
        <p:spPr>
          <a:xfrm>
            <a:off x="2156714" y="1898918"/>
            <a:ext cx="106943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Feature Branch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6AA6BF0E-8A2A-4DB6-AF5C-CCC03AFEA8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2132" y="1630125"/>
            <a:ext cx="499730" cy="405351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2AB9866F-C19A-4AE3-AE02-8D8BD5DC3C56}"/>
              </a:ext>
            </a:extLst>
          </p:cNvPr>
          <p:cNvSpPr/>
          <p:nvPr/>
        </p:nvSpPr>
        <p:spPr>
          <a:xfrm>
            <a:off x="3656414" y="1938211"/>
            <a:ext cx="106943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Pull Request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 panose="020B0702040204020203" pitchFamily="34" charset="0"/>
              <a:ea typeface="MS PGothic" panose="020B0600070205080204" pitchFamily="34" charset="-128"/>
              <a:cs typeface="Segoe UI Semibold" panose="020B0702040204020203" pitchFamily="34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2A9C549-23F8-4BF1-937C-0356FA3207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51379" y="1707001"/>
            <a:ext cx="583430" cy="295884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CD72ABA8-F9EF-42C6-A5F5-A89587F4608C}"/>
              </a:ext>
            </a:extLst>
          </p:cNvPr>
          <p:cNvSpPr/>
          <p:nvPr/>
        </p:nvSpPr>
        <p:spPr>
          <a:xfrm>
            <a:off x="5170481" y="1944674"/>
            <a:ext cx="106943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Merge the PR</a:t>
            </a:r>
          </a:p>
        </p:txBody>
      </p:sp>
      <p:pic>
        <p:nvPicPr>
          <p:cNvPr id="35" name="Picture 34" descr="Bitbucket Pricing Hike Increases Cost Per User by 100% – WP Tavern">
            <a:extLst>
              <a:ext uri="{FF2B5EF4-FFF2-40B4-BE49-F238E27FC236}">
                <a16:creationId xmlns:a16="http://schemas.microsoft.com/office/drawing/2014/main" id="{F0AE565C-D64C-4DD1-840E-A331D61395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118" y="1681373"/>
            <a:ext cx="808218" cy="205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8EF7ACC5-729E-4CE9-9D5A-3EF2A47D8097}"/>
              </a:ext>
            </a:extLst>
          </p:cNvPr>
          <p:cNvSpPr/>
          <p:nvPr/>
        </p:nvSpPr>
        <p:spPr>
          <a:xfrm>
            <a:off x="6581987" y="1899383"/>
            <a:ext cx="106943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Staging Branch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E09FD395-9D95-4512-9213-009B46ACA3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48209" y="1621345"/>
            <a:ext cx="755689" cy="323329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2804C10F-80DF-416C-9DE4-38ADA6A3EB75}"/>
              </a:ext>
            </a:extLst>
          </p:cNvPr>
          <p:cNvSpPr/>
          <p:nvPr/>
        </p:nvSpPr>
        <p:spPr>
          <a:xfrm>
            <a:off x="8020653" y="1927963"/>
            <a:ext cx="106943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     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Jenkins</a:t>
            </a:r>
          </a:p>
        </p:txBody>
      </p:sp>
      <p:pic>
        <p:nvPicPr>
          <p:cNvPr id="2050" name="Picture 2" descr="One free icon">
            <a:extLst>
              <a:ext uri="{FF2B5EF4-FFF2-40B4-BE49-F238E27FC236}">
                <a16:creationId xmlns:a16="http://schemas.microsoft.com/office/drawing/2014/main" id="{2BBF7392-A4EA-441E-BA46-322D1A2219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0159" y="1616461"/>
            <a:ext cx="163510" cy="221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Two free icon">
            <a:extLst>
              <a:ext uri="{FF2B5EF4-FFF2-40B4-BE49-F238E27FC236}">
                <a16:creationId xmlns:a16="http://schemas.microsoft.com/office/drawing/2014/main" id="{9F0E1D6E-B66B-4EA1-8CE2-9037A889EE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9865" y="1681373"/>
            <a:ext cx="329238" cy="173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5D0E67A4-B082-443C-9CEA-E7F826167033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4844955" y="1187356"/>
            <a:ext cx="6694" cy="67822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DA0C72D6-ABE3-493F-B993-7FB4E5B1105A}"/>
              </a:ext>
            </a:extLst>
          </p:cNvPr>
          <p:cNvCxnSpPr>
            <a:cxnSpLocks/>
          </p:cNvCxnSpPr>
          <p:nvPr/>
        </p:nvCxnSpPr>
        <p:spPr bwMode="auto">
          <a:xfrm flipV="1">
            <a:off x="2714591" y="1174463"/>
            <a:ext cx="0" cy="39616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DB39ECA7-194F-4F49-821D-FFE7EC1A832C}"/>
              </a:ext>
            </a:extLst>
          </p:cNvPr>
          <p:cNvCxnSpPr>
            <a:cxnSpLocks/>
          </p:cNvCxnSpPr>
          <p:nvPr/>
        </p:nvCxnSpPr>
        <p:spPr bwMode="auto">
          <a:xfrm flipH="1">
            <a:off x="3911948" y="1229645"/>
            <a:ext cx="933008" cy="505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2054" name="Picture 6" descr="Three free icon">
            <a:extLst>
              <a:ext uri="{FF2B5EF4-FFF2-40B4-BE49-F238E27FC236}">
                <a16:creationId xmlns:a16="http://schemas.microsoft.com/office/drawing/2014/main" id="{715F8450-8A1C-4066-847C-067F6A4A83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1375" y="1006838"/>
            <a:ext cx="230630" cy="246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5006DF6D-F900-4C4D-8929-377DD9876AA3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2683948" y="1240879"/>
            <a:ext cx="904656" cy="505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57" name="Picture 56">
            <a:extLst>
              <a:ext uri="{FF2B5EF4-FFF2-40B4-BE49-F238E27FC236}">
                <a16:creationId xmlns:a16="http://schemas.microsoft.com/office/drawing/2014/main" id="{BF2C7FD5-484C-4811-9846-EE38E5C8E7C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76537" y="2931043"/>
            <a:ext cx="960142" cy="265015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45B7F38F-D51C-4BD3-8D66-F78BBB28B40C}"/>
              </a:ext>
            </a:extLst>
          </p:cNvPr>
          <p:cNvSpPr/>
          <p:nvPr/>
        </p:nvSpPr>
        <p:spPr>
          <a:xfrm>
            <a:off x="2375854" y="3234925"/>
            <a:ext cx="146468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Code Coverage</a:t>
            </a: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C0F3F7DA-4C40-4515-83D9-B125D332FC3C}"/>
              </a:ext>
            </a:extLst>
          </p:cNvPr>
          <p:cNvCxnSpPr>
            <a:cxnSpLocks/>
          </p:cNvCxnSpPr>
          <p:nvPr/>
        </p:nvCxnSpPr>
        <p:spPr bwMode="auto">
          <a:xfrm flipV="1">
            <a:off x="9220987" y="1187356"/>
            <a:ext cx="4580" cy="762299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A0BF7351-A688-498A-B428-D4DC0CD32BDC}"/>
              </a:ext>
            </a:extLst>
          </p:cNvPr>
          <p:cNvCxnSpPr>
            <a:cxnSpLocks/>
            <a:endCxn id="2058" idx="3"/>
          </p:cNvCxnSpPr>
          <p:nvPr/>
        </p:nvCxnSpPr>
        <p:spPr bwMode="auto">
          <a:xfrm flipH="1">
            <a:off x="7417529" y="1240879"/>
            <a:ext cx="1796764" cy="6184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519ABDD8-AF92-48AD-A1CF-C6C813FE46A8}"/>
              </a:ext>
            </a:extLst>
          </p:cNvPr>
          <p:cNvCxnSpPr>
            <a:cxnSpLocks/>
          </p:cNvCxnSpPr>
          <p:nvPr/>
        </p:nvCxnSpPr>
        <p:spPr bwMode="auto">
          <a:xfrm flipH="1">
            <a:off x="4874388" y="1234696"/>
            <a:ext cx="2117258" cy="12367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2058" name="Picture 10" descr="Outlook free icon">
            <a:extLst>
              <a:ext uri="{FF2B5EF4-FFF2-40B4-BE49-F238E27FC236}">
                <a16:creationId xmlns:a16="http://schemas.microsoft.com/office/drawing/2014/main" id="{26C234E8-C252-4827-BEB9-D44B42421C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4268" y="1020432"/>
            <a:ext cx="453261" cy="453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Success free icon">
            <a:extLst>
              <a:ext uri="{FF2B5EF4-FFF2-40B4-BE49-F238E27FC236}">
                <a16:creationId xmlns:a16="http://schemas.microsoft.com/office/drawing/2014/main" id="{BB7B2255-ED66-4F01-95DB-3E41768345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2091" y="2011013"/>
            <a:ext cx="213190" cy="213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Error free icon">
            <a:extLst>
              <a:ext uri="{FF2B5EF4-FFF2-40B4-BE49-F238E27FC236}">
                <a16:creationId xmlns:a16="http://schemas.microsoft.com/office/drawing/2014/main" id="{10D98FC7-A9DC-419A-98B8-36E76CD4D9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0972" y="1304188"/>
            <a:ext cx="211119" cy="211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12" descr="Success free icon">
            <a:extLst>
              <a:ext uri="{FF2B5EF4-FFF2-40B4-BE49-F238E27FC236}">
                <a16:creationId xmlns:a16="http://schemas.microsoft.com/office/drawing/2014/main" id="{4B440AB6-65B5-446A-A5C7-423F9C3AA1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2974" y="1955853"/>
            <a:ext cx="213190" cy="213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14" descr="Error free icon">
            <a:extLst>
              <a:ext uri="{FF2B5EF4-FFF2-40B4-BE49-F238E27FC236}">
                <a16:creationId xmlns:a16="http://schemas.microsoft.com/office/drawing/2014/main" id="{9AF8C21A-1F27-4B5B-B1C5-E3E8930655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0870" y="1315347"/>
            <a:ext cx="211119" cy="211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258BD734-9CC2-4EB8-BB20-2BA5EA68DFD1}"/>
              </a:ext>
            </a:extLst>
          </p:cNvPr>
          <p:cNvCxnSpPr>
            <a:cxnSpLocks/>
          </p:cNvCxnSpPr>
          <p:nvPr/>
        </p:nvCxnSpPr>
        <p:spPr bwMode="auto">
          <a:xfrm flipV="1">
            <a:off x="10420361" y="1918572"/>
            <a:ext cx="499730" cy="1063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94" name="Rectangle: Diagonal Corners Rounded 93">
            <a:extLst>
              <a:ext uri="{FF2B5EF4-FFF2-40B4-BE49-F238E27FC236}">
                <a16:creationId xmlns:a16="http://schemas.microsoft.com/office/drawing/2014/main" id="{0950ABCC-41DA-4875-AECD-F9858309C26F}"/>
              </a:ext>
            </a:extLst>
          </p:cNvPr>
          <p:cNvSpPr/>
          <p:nvPr/>
        </p:nvSpPr>
        <p:spPr bwMode="auto">
          <a:xfrm>
            <a:off x="10839621" y="1580082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pic>
        <p:nvPicPr>
          <p:cNvPr id="95" name="Picture 94">
            <a:extLst>
              <a:ext uri="{FF2B5EF4-FFF2-40B4-BE49-F238E27FC236}">
                <a16:creationId xmlns:a16="http://schemas.microsoft.com/office/drawing/2014/main" id="{2E414E34-8D1F-4BDF-9E92-8BAC5CF58FF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948929" y="1630125"/>
            <a:ext cx="728104" cy="309023"/>
          </a:xfrm>
          <a:prstGeom prst="rect">
            <a:avLst/>
          </a:prstGeom>
        </p:spPr>
      </p:pic>
      <p:sp>
        <p:nvSpPr>
          <p:cNvPr id="96" name="Rectangle 95">
            <a:extLst>
              <a:ext uri="{FF2B5EF4-FFF2-40B4-BE49-F238E27FC236}">
                <a16:creationId xmlns:a16="http://schemas.microsoft.com/office/drawing/2014/main" id="{5C258309-5C69-4C1E-9533-947C7CFF7A72}"/>
              </a:ext>
            </a:extLst>
          </p:cNvPr>
          <p:cNvSpPr/>
          <p:nvPr/>
        </p:nvSpPr>
        <p:spPr>
          <a:xfrm>
            <a:off x="10828055" y="1934641"/>
            <a:ext cx="146468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Artifact Repo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 panose="020B0702040204020203" pitchFamily="34" charset="0"/>
              <a:ea typeface="MS PGothic" panose="020B0600070205080204" pitchFamily="34" charset="-128"/>
              <a:cs typeface="Segoe UI Semibold" panose="020B0702040204020203" pitchFamily="34" charset="0"/>
            </a:endParaRPr>
          </a:p>
        </p:txBody>
      </p: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059FD1E5-70D6-4B08-9CC4-088FD75FE088}"/>
              </a:ext>
            </a:extLst>
          </p:cNvPr>
          <p:cNvCxnSpPr>
            <a:cxnSpLocks/>
          </p:cNvCxnSpPr>
          <p:nvPr/>
        </p:nvCxnSpPr>
        <p:spPr bwMode="auto">
          <a:xfrm flipV="1">
            <a:off x="10609879" y="1187356"/>
            <a:ext cx="15619" cy="731529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BB48F795-49CC-4FB4-831D-1FB41C7ED25E}"/>
              </a:ext>
            </a:extLst>
          </p:cNvPr>
          <p:cNvCxnSpPr/>
          <p:nvPr/>
        </p:nvCxnSpPr>
        <p:spPr bwMode="auto">
          <a:xfrm flipH="1">
            <a:off x="9220987" y="1229645"/>
            <a:ext cx="1404511" cy="11234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01" name="Picture 12" descr="Success free icon">
            <a:extLst>
              <a:ext uri="{FF2B5EF4-FFF2-40B4-BE49-F238E27FC236}">
                <a16:creationId xmlns:a16="http://schemas.microsoft.com/office/drawing/2014/main" id="{F3CEB43D-909E-4F12-8B44-CA14414727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655" y="2046541"/>
            <a:ext cx="213190" cy="213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Picture 14" descr="Error free icon">
            <a:extLst>
              <a:ext uri="{FF2B5EF4-FFF2-40B4-BE49-F238E27FC236}">
                <a16:creationId xmlns:a16="http://schemas.microsoft.com/office/drawing/2014/main" id="{0F9D9F02-600F-4799-85FD-B39D49FB6B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4288" y="1308392"/>
            <a:ext cx="211119" cy="211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Code review free icon">
            <a:extLst>
              <a:ext uri="{FF2B5EF4-FFF2-40B4-BE49-F238E27FC236}">
                <a16:creationId xmlns:a16="http://schemas.microsoft.com/office/drawing/2014/main" id="{D3D6563E-B932-4FE8-BAAC-1C22FC019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9418" y="1031914"/>
            <a:ext cx="458456" cy="458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7D2EF966-86D0-4FF2-AFC6-BA2EB99193DA}"/>
              </a:ext>
            </a:extLst>
          </p:cNvPr>
          <p:cNvCxnSpPr>
            <a:cxnSpLocks/>
            <a:stCxn id="94" idx="1"/>
          </p:cNvCxnSpPr>
          <p:nvPr/>
        </p:nvCxnSpPr>
        <p:spPr bwMode="auto">
          <a:xfrm>
            <a:off x="11334380" y="2175506"/>
            <a:ext cx="0" cy="579726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7" name="Rectangle: Diagonal Corners Rounded 106">
            <a:extLst>
              <a:ext uri="{FF2B5EF4-FFF2-40B4-BE49-F238E27FC236}">
                <a16:creationId xmlns:a16="http://schemas.microsoft.com/office/drawing/2014/main" id="{0F2B7AAC-18BD-4115-A1B6-9FBA2DB3A1EA}"/>
              </a:ext>
            </a:extLst>
          </p:cNvPr>
          <p:cNvSpPr/>
          <p:nvPr/>
        </p:nvSpPr>
        <p:spPr bwMode="auto">
          <a:xfrm>
            <a:off x="10839621" y="2775188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F112278F-3EE9-44CD-8054-A5543F59B6CB}"/>
              </a:ext>
            </a:extLst>
          </p:cNvPr>
          <p:cNvCxnSpPr>
            <a:stCxn id="107" idx="2"/>
          </p:cNvCxnSpPr>
          <p:nvPr/>
        </p:nvCxnSpPr>
        <p:spPr bwMode="auto">
          <a:xfrm flipH="1">
            <a:off x="10415957" y="3072900"/>
            <a:ext cx="423664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0" name="Rectangle: Diagonal Corners Rounded 109">
            <a:extLst>
              <a:ext uri="{FF2B5EF4-FFF2-40B4-BE49-F238E27FC236}">
                <a16:creationId xmlns:a16="http://schemas.microsoft.com/office/drawing/2014/main" id="{ACAE6D31-1619-44E9-BE0E-E25748EB6840}"/>
              </a:ext>
            </a:extLst>
          </p:cNvPr>
          <p:cNvSpPr/>
          <p:nvPr/>
        </p:nvSpPr>
        <p:spPr bwMode="auto">
          <a:xfrm>
            <a:off x="9424488" y="2787643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pic>
        <p:nvPicPr>
          <p:cNvPr id="111" name="Picture 110">
            <a:extLst>
              <a:ext uri="{FF2B5EF4-FFF2-40B4-BE49-F238E27FC236}">
                <a16:creationId xmlns:a16="http://schemas.microsoft.com/office/drawing/2014/main" id="{9523C6E8-7703-4390-8FA4-C4F27D5E4A4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1083694" y="2787645"/>
            <a:ext cx="498533" cy="365872"/>
          </a:xfrm>
          <a:prstGeom prst="rect">
            <a:avLst/>
          </a:prstGeom>
        </p:spPr>
      </p:pic>
      <p:sp>
        <p:nvSpPr>
          <p:cNvPr id="112" name="Rectangle 111">
            <a:extLst>
              <a:ext uri="{FF2B5EF4-FFF2-40B4-BE49-F238E27FC236}">
                <a16:creationId xmlns:a16="http://schemas.microsoft.com/office/drawing/2014/main" id="{70ECB662-6F73-4DB5-92BA-87F5A1B2B3A8}"/>
              </a:ext>
            </a:extLst>
          </p:cNvPr>
          <p:cNvSpPr/>
          <p:nvPr/>
        </p:nvSpPr>
        <p:spPr>
          <a:xfrm>
            <a:off x="10920091" y="3139780"/>
            <a:ext cx="146468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Azure Web App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 panose="020B0702040204020203" pitchFamily="34" charset="0"/>
              <a:ea typeface="MS PGothic" panose="020B0600070205080204" pitchFamily="34" charset="-128"/>
              <a:cs typeface="Segoe UI Semibold" panose="020B0702040204020203" pitchFamily="34" charset="0"/>
            </a:endParaRPr>
          </a:p>
        </p:txBody>
      </p: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3FE1D50E-607A-4915-BB78-FC11E506815E}"/>
              </a:ext>
            </a:extLst>
          </p:cNvPr>
          <p:cNvCxnSpPr/>
          <p:nvPr/>
        </p:nvCxnSpPr>
        <p:spPr bwMode="auto">
          <a:xfrm flipH="1">
            <a:off x="9009155" y="3049599"/>
            <a:ext cx="423664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4" name="Rectangle: Diagonal Corners Rounded 113">
            <a:extLst>
              <a:ext uri="{FF2B5EF4-FFF2-40B4-BE49-F238E27FC236}">
                <a16:creationId xmlns:a16="http://schemas.microsoft.com/office/drawing/2014/main" id="{83DC387F-BB07-4363-AFFD-85F068AAC2EA}"/>
              </a:ext>
            </a:extLst>
          </p:cNvPr>
          <p:cNvSpPr/>
          <p:nvPr/>
        </p:nvSpPr>
        <p:spPr bwMode="auto">
          <a:xfrm>
            <a:off x="8048498" y="2787643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828F1B91-D0A3-4594-B7CD-F7ECB6EDB561}"/>
              </a:ext>
            </a:extLst>
          </p:cNvPr>
          <p:cNvCxnSpPr/>
          <p:nvPr/>
        </p:nvCxnSpPr>
        <p:spPr bwMode="auto">
          <a:xfrm flipH="1">
            <a:off x="7611840" y="3115028"/>
            <a:ext cx="423664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6" name="Rectangle: Diagonal Corners Rounded 115">
            <a:extLst>
              <a:ext uri="{FF2B5EF4-FFF2-40B4-BE49-F238E27FC236}">
                <a16:creationId xmlns:a16="http://schemas.microsoft.com/office/drawing/2014/main" id="{58DE8CA6-B6FA-4414-965E-0FF942494123}"/>
              </a:ext>
            </a:extLst>
          </p:cNvPr>
          <p:cNvSpPr/>
          <p:nvPr/>
        </p:nvSpPr>
        <p:spPr bwMode="auto">
          <a:xfrm>
            <a:off x="6686260" y="2833576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pic>
        <p:nvPicPr>
          <p:cNvPr id="117" name="Picture 116" descr="Bitbucket Pricing Hike Increases Cost Per User by 100% – WP Tavern">
            <a:extLst>
              <a:ext uri="{FF2B5EF4-FFF2-40B4-BE49-F238E27FC236}">
                <a16:creationId xmlns:a16="http://schemas.microsoft.com/office/drawing/2014/main" id="{7F651B09-74FE-4204-B6E6-10524B2432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4661" y="2817028"/>
            <a:ext cx="808218" cy="205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8" name="Rectangle 117">
            <a:extLst>
              <a:ext uri="{FF2B5EF4-FFF2-40B4-BE49-F238E27FC236}">
                <a16:creationId xmlns:a16="http://schemas.microsoft.com/office/drawing/2014/main" id="{56B3C426-F1C1-499F-A22F-DC4672AE03DF}"/>
              </a:ext>
            </a:extLst>
          </p:cNvPr>
          <p:cNvSpPr/>
          <p:nvPr/>
        </p:nvSpPr>
        <p:spPr>
          <a:xfrm>
            <a:off x="9491507" y="3099369"/>
            <a:ext cx="106943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Staging Branch</a:t>
            </a:r>
          </a:p>
        </p:txBody>
      </p:sp>
      <p:pic>
        <p:nvPicPr>
          <p:cNvPr id="119" name="Picture 118">
            <a:extLst>
              <a:ext uri="{FF2B5EF4-FFF2-40B4-BE49-F238E27FC236}">
                <a16:creationId xmlns:a16="http://schemas.microsoft.com/office/drawing/2014/main" id="{5716B122-E585-4CB5-89DB-AD1B4C35EC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33674" y="2817028"/>
            <a:ext cx="499730" cy="405351"/>
          </a:xfrm>
          <a:prstGeom prst="rect">
            <a:avLst/>
          </a:prstGeom>
        </p:spPr>
      </p:pic>
      <p:sp>
        <p:nvSpPr>
          <p:cNvPr id="120" name="Rectangle 119">
            <a:extLst>
              <a:ext uri="{FF2B5EF4-FFF2-40B4-BE49-F238E27FC236}">
                <a16:creationId xmlns:a16="http://schemas.microsoft.com/office/drawing/2014/main" id="{07E8700B-C8F5-4B10-967B-249099944B8E}"/>
              </a:ext>
            </a:extLst>
          </p:cNvPr>
          <p:cNvSpPr/>
          <p:nvPr/>
        </p:nvSpPr>
        <p:spPr>
          <a:xfrm>
            <a:off x="8097713" y="3186015"/>
            <a:ext cx="106943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Pull Request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 panose="020B0702040204020203" pitchFamily="34" charset="0"/>
              <a:ea typeface="MS PGothic" panose="020B0600070205080204" pitchFamily="34" charset="-128"/>
              <a:cs typeface="Segoe UI Semibold" panose="020B0702040204020203" pitchFamily="34" charset="0"/>
            </a:endParaRPr>
          </a:p>
        </p:txBody>
      </p:sp>
      <p:pic>
        <p:nvPicPr>
          <p:cNvPr id="121" name="Picture 120">
            <a:extLst>
              <a:ext uri="{FF2B5EF4-FFF2-40B4-BE49-F238E27FC236}">
                <a16:creationId xmlns:a16="http://schemas.microsoft.com/office/drawing/2014/main" id="{760A48DB-1753-4AFE-A546-2480E956C5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88508" y="2901657"/>
            <a:ext cx="583430" cy="295884"/>
          </a:xfrm>
          <a:prstGeom prst="rect">
            <a:avLst/>
          </a:prstGeom>
        </p:spPr>
      </p:pic>
      <p:sp>
        <p:nvSpPr>
          <p:cNvPr id="122" name="Rectangle 121">
            <a:extLst>
              <a:ext uri="{FF2B5EF4-FFF2-40B4-BE49-F238E27FC236}">
                <a16:creationId xmlns:a16="http://schemas.microsoft.com/office/drawing/2014/main" id="{3470A82C-995B-49C3-8136-49F751082B79}"/>
              </a:ext>
            </a:extLst>
          </p:cNvPr>
          <p:cNvSpPr/>
          <p:nvPr/>
        </p:nvSpPr>
        <p:spPr>
          <a:xfrm>
            <a:off x="6656182" y="3214785"/>
            <a:ext cx="106943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Merge the PR</a:t>
            </a:r>
          </a:p>
        </p:txBody>
      </p:sp>
      <p:sp>
        <p:nvSpPr>
          <p:cNvPr id="123" name="Rectangle: Diagonal Corners Rounded 122">
            <a:extLst>
              <a:ext uri="{FF2B5EF4-FFF2-40B4-BE49-F238E27FC236}">
                <a16:creationId xmlns:a16="http://schemas.microsoft.com/office/drawing/2014/main" id="{5444CD48-6782-45AB-833B-69B630EA5237}"/>
              </a:ext>
            </a:extLst>
          </p:cNvPr>
          <p:cNvSpPr/>
          <p:nvPr/>
        </p:nvSpPr>
        <p:spPr bwMode="auto">
          <a:xfrm>
            <a:off x="5302268" y="2877687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cxnSp>
        <p:nvCxnSpPr>
          <p:cNvPr id="124" name="Straight Arrow Connector 123">
            <a:extLst>
              <a:ext uri="{FF2B5EF4-FFF2-40B4-BE49-F238E27FC236}">
                <a16:creationId xmlns:a16="http://schemas.microsoft.com/office/drawing/2014/main" id="{45E37823-9326-43E2-A1E1-F073B3538F57}"/>
              </a:ext>
            </a:extLst>
          </p:cNvPr>
          <p:cNvCxnSpPr/>
          <p:nvPr/>
        </p:nvCxnSpPr>
        <p:spPr bwMode="auto">
          <a:xfrm flipH="1">
            <a:off x="6283454" y="3153517"/>
            <a:ext cx="423664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25" name="Picture 124" descr="Bitbucket Pricing Hike Increases Cost Per User by 100% – WP Tavern">
            <a:extLst>
              <a:ext uri="{FF2B5EF4-FFF2-40B4-BE49-F238E27FC236}">
                <a16:creationId xmlns:a16="http://schemas.microsoft.com/office/drawing/2014/main" id="{48738F48-75C5-4E7E-BE98-397EC972A6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4541" y="3007075"/>
            <a:ext cx="808218" cy="205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6" name="Rectangle 125">
            <a:extLst>
              <a:ext uri="{FF2B5EF4-FFF2-40B4-BE49-F238E27FC236}">
                <a16:creationId xmlns:a16="http://schemas.microsoft.com/office/drawing/2014/main" id="{317B1940-05FC-4732-935A-E798E4C6B990}"/>
              </a:ext>
            </a:extLst>
          </p:cNvPr>
          <p:cNvSpPr/>
          <p:nvPr/>
        </p:nvSpPr>
        <p:spPr>
          <a:xfrm>
            <a:off x="5310229" y="3255196"/>
            <a:ext cx="106943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 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Prod Branch</a:t>
            </a:r>
          </a:p>
        </p:txBody>
      </p: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3FEF9BD8-32DD-427D-9CD6-41A03696F6D8}"/>
              </a:ext>
            </a:extLst>
          </p:cNvPr>
          <p:cNvCxnSpPr/>
          <p:nvPr/>
        </p:nvCxnSpPr>
        <p:spPr bwMode="auto">
          <a:xfrm flipH="1">
            <a:off x="4856656" y="3186015"/>
            <a:ext cx="423664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28" name="Rectangle: Diagonal Corners Rounded 127">
            <a:extLst>
              <a:ext uri="{FF2B5EF4-FFF2-40B4-BE49-F238E27FC236}">
                <a16:creationId xmlns:a16="http://schemas.microsoft.com/office/drawing/2014/main" id="{6585FFB8-22AD-4981-94BA-E2337814D832}"/>
              </a:ext>
            </a:extLst>
          </p:cNvPr>
          <p:cNvSpPr/>
          <p:nvPr/>
        </p:nvSpPr>
        <p:spPr bwMode="auto">
          <a:xfrm>
            <a:off x="3853838" y="2888303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pic>
        <p:nvPicPr>
          <p:cNvPr id="129" name="Picture 128">
            <a:extLst>
              <a:ext uri="{FF2B5EF4-FFF2-40B4-BE49-F238E27FC236}">
                <a16:creationId xmlns:a16="http://schemas.microsoft.com/office/drawing/2014/main" id="{17CD91F1-7275-4BCB-86AA-30C527E79B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17874" y="2969623"/>
            <a:ext cx="755689" cy="323329"/>
          </a:xfrm>
          <a:prstGeom prst="rect">
            <a:avLst/>
          </a:prstGeom>
        </p:spPr>
      </p:pic>
      <p:sp>
        <p:nvSpPr>
          <p:cNvPr id="130" name="Rectangle 129">
            <a:extLst>
              <a:ext uri="{FF2B5EF4-FFF2-40B4-BE49-F238E27FC236}">
                <a16:creationId xmlns:a16="http://schemas.microsoft.com/office/drawing/2014/main" id="{BCBA0F8C-C8D0-44FE-ADAA-5D04C70C4F35}"/>
              </a:ext>
            </a:extLst>
          </p:cNvPr>
          <p:cNvSpPr/>
          <p:nvPr/>
        </p:nvSpPr>
        <p:spPr>
          <a:xfrm>
            <a:off x="3865347" y="3248477"/>
            <a:ext cx="106943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     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Jenkins</a:t>
            </a:r>
          </a:p>
        </p:txBody>
      </p:sp>
      <p:sp>
        <p:nvSpPr>
          <p:cNvPr id="131" name="Rectangle: Diagonal Corners Rounded 130">
            <a:extLst>
              <a:ext uri="{FF2B5EF4-FFF2-40B4-BE49-F238E27FC236}">
                <a16:creationId xmlns:a16="http://schemas.microsoft.com/office/drawing/2014/main" id="{29F8CAC5-BFCB-47E3-AC83-B9AC9D60BE11}"/>
              </a:ext>
            </a:extLst>
          </p:cNvPr>
          <p:cNvSpPr/>
          <p:nvPr/>
        </p:nvSpPr>
        <p:spPr bwMode="auto">
          <a:xfrm>
            <a:off x="2469786" y="2884248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9544EADA-9E21-467D-A269-6577B252512B}"/>
              </a:ext>
            </a:extLst>
          </p:cNvPr>
          <p:cNvCxnSpPr/>
          <p:nvPr/>
        </p:nvCxnSpPr>
        <p:spPr bwMode="auto">
          <a:xfrm flipH="1">
            <a:off x="3455796" y="3217161"/>
            <a:ext cx="423664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33" name="Picture 132">
            <a:extLst>
              <a:ext uri="{FF2B5EF4-FFF2-40B4-BE49-F238E27FC236}">
                <a16:creationId xmlns:a16="http://schemas.microsoft.com/office/drawing/2014/main" id="{7ACD3064-1DB3-4239-AF15-345908B059D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76378" y="1651375"/>
            <a:ext cx="960142" cy="265015"/>
          </a:xfrm>
          <a:prstGeom prst="rect">
            <a:avLst/>
          </a:prstGeom>
        </p:spPr>
      </p:pic>
      <p:sp>
        <p:nvSpPr>
          <p:cNvPr id="134" name="Rectangle 133">
            <a:extLst>
              <a:ext uri="{FF2B5EF4-FFF2-40B4-BE49-F238E27FC236}">
                <a16:creationId xmlns:a16="http://schemas.microsoft.com/office/drawing/2014/main" id="{9B276BD4-1CDA-410F-B62C-A427DC91ED6C}"/>
              </a:ext>
            </a:extLst>
          </p:cNvPr>
          <p:cNvSpPr/>
          <p:nvPr/>
        </p:nvSpPr>
        <p:spPr>
          <a:xfrm>
            <a:off x="9413202" y="1895597"/>
            <a:ext cx="146468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Code Coverage</a:t>
            </a:r>
          </a:p>
        </p:txBody>
      </p:sp>
      <p:sp>
        <p:nvSpPr>
          <p:cNvPr id="135" name="Rectangle: Diagonal Corners Rounded 134">
            <a:extLst>
              <a:ext uri="{FF2B5EF4-FFF2-40B4-BE49-F238E27FC236}">
                <a16:creationId xmlns:a16="http://schemas.microsoft.com/office/drawing/2014/main" id="{F42568C6-0D93-4EC8-8B35-5F745CCE8F76}"/>
              </a:ext>
            </a:extLst>
          </p:cNvPr>
          <p:cNvSpPr/>
          <p:nvPr/>
        </p:nvSpPr>
        <p:spPr bwMode="auto">
          <a:xfrm>
            <a:off x="1198611" y="2898346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36" name="Rectangle: Diagonal Corners Rounded 135">
            <a:extLst>
              <a:ext uri="{FF2B5EF4-FFF2-40B4-BE49-F238E27FC236}">
                <a16:creationId xmlns:a16="http://schemas.microsoft.com/office/drawing/2014/main" id="{224323F2-2BE1-4BF4-AC95-2B4A4ADEE30F}"/>
              </a:ext>
            </a:extLst>
          </p:cNvPr>
          <p:cNvSpPr/>
          <p:nvPr/>
        </p:nvSpPr>
        <p:spPr bwMode="auto">
          <a:xfrm>
            <a:off x="63787" y="2909534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pic>
        <p:nvPicPr>
          <p:cNvPr id="137" name="Picture 136">
            <a:extLst>
              <a:ext uri="{FF2B5EF4-FFF2-40B4-BE49-F238E27FC236}">
                <a16:creationId xmlns:a16="http://schemas.microsoft.com/office/drawing/2014/main" id="{FA3AA785-4BAA-43F8-8272-0172E929987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319294" y="2960516"/>
            <a:ext cx="728104" cy="309023"/>
          </a:xfrm>
          <a:prstGeom prst="rect">
            <a:avLst/>
          </a:prstGeom>
        </p:spPr>
      </p:pic>
      <p:sp>
        <p:nvSpPr>
          <p:cNvPr id="138" name="Rectangle 137">
            <a:extLst>
              <a:ext uri="{FF2B5EF4-FFF2-40B4-BE49-F238E27FC236}">
                <a16:creationId xmlns:a16="http://schemas.microsoft.com/office/drawing/2014/main" id="{8C8E2414-E0B3-446C-8F42-60BC9AE9ECF0}"/>
              </a:ext>
            </a:extLst>
          </p:cNvPr>
          <p:cNvSpPr/>
          <p:nvPr/>
        </p:nvSpPr>
        <p:spPr>
          <a:xfrm>
            <a:off x="1319294" y="3266239"/>
            <a:ext cx="146468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Artifact Repo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 panose="020B0702040204020203" pitchFamily="34" charset="0"/>
              <a:ea typeface="MS PGothic" panose="020B0600070205080204" pitchFamily="34" charset="-128"/>
              <a:cs typeface="Segoe UI Semibold" panose="020B0702040204020203" pitchFamily="34" charset="0"/>
            </a:endParaRPr>
          </a:p>
        </p:txBody>
      </p:sp>
      <p:cxnSp>
        <p:nvCxnSpPr>
          <p:cNvPr id="139" name="Straight Arrow Connector 138">
            <a:extLst>
              <a:ext uri="{FF2B5EF4-FFF2-40B4-BE49-F238E27FC236}">
                <a16:creationId xmlns:a16="http://schemas.microsoft.com/office/drawing/2014/main" id="{FD3C6262-D0DC-4CF4-8458-E05B56E1ABFC}"/>
              </a:ext>
            </a:extLst>
          </p:cNvPr>
          <p:cNvCxnSpPr>
            <a:cxnSpLocks/>
            <a:endCxn id="135" idx="0"/>
          </p:cNvCxnSpPr>
          <p:nvPr/>
        </p:nvCxnSpPr>
        <p:spPr bwMode="auto">
          <a:xfrm flipH="1">
            <a:off x="2188128" y="3190331"/>
            <a:ext cx="288410" cy="5727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id="{F5F65680-9B59-4153-9C1B-26ABFB07852C}"/>
              </a:ext>
            </a:extLst>
          </p:cNvPr>
          <p:cNvCxnSpPr>
            <a:cxnSpLocks/>
          </p:cNvCxnSpPr>
          <p:nvPr/>
        </p:nvCxnSpPr>
        <p:spPr bwMode="auto">
          <a:xfrm flipH="1">
            <a:off x="994350" y="3214785"/>
            <a:ext cx="275108" cy="1124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44" name="Picture 143">
            <a:extLst>
              <a:ext uri="{FF2B5EF4-FFF2-40B4-BE49-F238E27FC236}">
                <a16:creationId xmlns:a16="http://schemas.microsoft.com/office/drawing/2014/main" id="{05CA2CCD-06EC-4237-A4C0-A6B2EFCB571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12002" y="2984469"/>
            <a:ext cx="498533" cy="365872"/>
          </a:xfrm>
          <a:prstGeom prst="rect">
            <a:avLst/>
          </a:prstGeom>
        </p:spPr>
      </p:pic>
      <p:sp>
        <p:nvSpPr>
          <p:cNvPr id="147" name="Rectangle 146">
            <a:extLst>
              <a:ext uri="{FF2B5EF4-FFF2-40B4-BE49-F238E27FC236}">
                <a16:creationId xmlns:a16="http://schemas.microsoft.com/office/drawing/2014/main" id="{ED17C617-C67E-4FF7-B257-B0ABA2828A5D}"/>
              </a:ext>
            </a:extLst>
          </p:cNvPr>
          <p:cNvSpPr/>
          <p:nvPr/>
        </p:nvSpPr>
        <p:spPr>
          <a:xfrm>
            <a:off x="85035" y="3292952"/>
            <a:ext cx="146468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Azure Web App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 panose="020B0702040204020203" pitchFamily="34" charset="0"/>
              <a:ea typeface="MS PGothic" panose="020B0600070205080204" pitchFamily="34" charset="-128"/>
              <a:cs typeface="Segoe UI Semibold" panose="020B0702040204020203" pitchFamily="34" charset="0"/>
            </a:endParaRPr>
          </a:p>
        </p:txBody>
      </p:sp>
      <p:pic>
        <p:nvPicPr>
          <p:cNvPr id="148" name="Picture 12" descr="Success free icon">
            <a:extLst>
              <a:ext uri="{FF2B5EF4-FFF2-40B4-BE49-F238E27FC236}">
                <a16:creationId xmlns:a16="http://schemas.microsoft.com/office/drawing/2014/main" id="{3167968C-19E8-4E20-ADF0-CF3C89A10B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1771" y="3301431"/>
            <a:ext cx="213190" cy="213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9" name="Picture 12" descr="Success free icon">
            <a:extLst>
              <a:ext uri="{FF2B5EF4-FFF2-40B4-BE49-F238E27FC236}">
                <a16:creationId xmlns:a16="http://schemas.microsoft.com/office/drawing/2014/main" id="{0E409BA8-6111-4CEF-BA71-FFC4BA1CEB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4345" y="3307621"/>
            <a:ext cx="213190" cy="213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0" name="Picture 12" descr="Success free icon">
            <a:extLst>
              <a:ext uri="{FF2B5EF4-FFF2-40B4-BE49-F238E27FC236}">
                <a16:creationId xmlns:a16="http://schemas.microsoft.com/office/drawing/2014/main" id="{B56C064D-7D52-4F9A-9795-7CFC1FE23C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4394" y="3363893"/>
            <a:ext cx="213190" cy="213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0F94ECB2-E41F-4A20-BE73-45328B283407}"/>
              </a:ext>
            </a:extLst>
          </p:cNvPr>
          <p:cNvCxnSpPr>
            <a:stCxn id="131" idx="1"/>
          </p:cNvCxnSpPr>
          <p:nvPr/>
        </p:nvCxnSpPr>
        <p:spPr bwMode="auto">
          <a:xfrm flipH="1">
            <a:off x="2964544" y="3479672"/>
            <a:ext cx="1" cy="611065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8B0E1F2F-5598-43D5-87D6-45833EE0F897}"/>
              </a:ext>
            </a:extLst>
          </p:cNvPr>
          <p:cNvCxnSpPr/>
          <p:nvPr/>
        </p:nvCxnSpPr>
        <p:spPr bwMode="auto">
          <a:xfrm flipH="1">
            <a:off x="4395717" y="3486028"/>
            <a:ext cx="1" cy="611065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54" name="Straight Arrow Connector 153">
            <a:extLst>
              <a:ext uri="{FF2B5EF4-FFF2-40B4-BE49-F238E27FC236}">
                <a16:creationId xmlns:a16="http://schemas.microsoft.com/office/drawing/2014/main" id="{B5550253-CDA4-40A1-B5A3-871031A4977C}"/>
              </a:ext>
            </a:extLst>
          </p:cNvPr>
          <p:cNvCxnSpPr>
            <a:cxnSpLocks/>
          </p:cNvCxnSpPr>
          <p:nvPr/>
        </p:nvCxnSpPr>
        <p:spPr bwMode="auto">
          <a:xfrm>
            <a:off x="8526555" y="3372225"/>
            <a:ext cx="13764" cy="71851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55" name="Straight Arrow Connector 154">
            <a:extLst>
              <a:ext uri="{FF2B5EF4-FFF2-40B4-BE49-F238E27FC236}">
                <a16:creationId xmlns:a16="http://schemas.microsoft.com/office/drawing/2014/main" id="{AB967B77-2DBF-4524-B83E-4F42865B0F56}"/>
              </a:ext>
            </a:extLst>
          </p:cNvPr>
          <p:cNvCxnSpPr>
            <a:cxnSpLocks/>
          </p:cNvCxnSpPr>
          <p:nvPr/>
        </p:nvCxnSpPr>
        <p:spPr bwMode="auto">
          <a:xfrm flipH="1">
            <a:off x="11332961" y="3380845"/>
            <a:ext cx="1" cy="70989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56" name="Picture 12" descr="Success free icon">
            <a:extLst>
              <a:ext uri="{FF2B5EF4-FFF2-40B4-BE49-F238E27FC236}">
                <a16:creationId xmlns:a16="http://schemas.microsoft.com/office/drawing/2014/main" id="{7DB57CB9-A18F-43CB-922F-DB6457CF67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4357" y="2853921"/>
            <a:ext cx="213190" cy="213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7" name="Picture 14" descr="Error free icon">
            <a:extLst>
              <a:ext uri="{FF2B5EF4-FFF2-40B4-BE49-F238E27FC236}">
                <a16:creationId xmlns:a16="http://schemas.microsoft.com/office/drawing/2014/main" id="{493F8742-5DAD-4934-8AEA-214C6BF4E9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3694" y="3523784"/>
            <a:ext cx="211119" cy="211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8" name="Picture 14" descr="Error free icon">
            <a:extLst>
              <a:ext uri="{FF2B5EF4-FFF2-40B4-BE49-F238E27FC236}">
                <a16:creationId xmlns:a16="http://schemas.microsoft.com/office/drawing/2014/main" id="{146BC879-D38D-4876-9E2C-49295E57F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6628" y="3628364"/>
            <a:ext cx="211119" cy="211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9" name="Picture 14" descr="Error free icon">
            <a:extLst>
              <a:ext uri="{FF2B5EF4-FFF2-40B4-BE49-F238E27FC236}">
                <a16:creationId xmlns:a16="http://schemas.microsoft.com/office/drawing/2014/main" id="{C8828E68-2CBA-42A9-B9EB-C981E161B8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8730" y="3540935"/>
            <a:ext cx="211119" cy="211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0" name="Picture 14" descr="Error free icon">
            <a:extLst>
              <a:ext uri="{FF2B5EF4-FFF2-40B4-BE49-F238E27FC236}">
                <a16:creationId xmlns:a16="http://schemas.microsoft.com/office/drawing/2014/main" id="{E97320EA-B7AA-4E19-802E-6CC9661E0C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6167" y="3665920"/>
            <a:ext cx="211119" cy="211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79C46F76-63B3-4F12-AA77-7F181F082423}"/>
              </a:ext>
            </a:extLst>
          </p:cNvPr>
          <p:cNvCxnSpPr/>
          <p:nvPr/>
        </p:nvCxnSpPr>
        <p:spPr bwMode="auto">
          <a:xfrm>
            <a:off x="2956608" y="4090737"/>
            <a:ext cx="9080020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51" name="Straight Arrow Connector 150">
            <a:extLst>
              <a:ext uri="{FF2B5EF4-FFF2-40B4-BE49-F238E27FC236}">
                <a16:creationId xmlns:a16="http://schemas.microsoft.com/office/drawing/2014/main" id="{FDF5FDED-5750-4D74-9F3F-51AADCEA660B}"/>
              </a:ext>
            </a:extLst>
          </p:cNvPr>
          <p:cNvCxnSpPr/>
          <p:nvPr/>
        </p:nvCxnSpPr>
        <p:spPr bwMode="auto">
          <a:xfrm flipV="1">
            <a:off x="12036628" y="1240879"/>
            <a:ext cx="0" cy="2849857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08A6B905-DF35-4A35-8A05-33775A39BD88}"/>
              </a:ext>
            </a:extLst>
          </p:cNvPr>
          <p:cNvCxnSpPr/>
          <p:nvPr/>
        </p:nvCxnSpPr>
        <p:spPr bwMode="auto">
          <a:xfrm flipH="1" flipV="1">
            <a:off x="10609879" y="1240879"/>
            <a:ext cx="1426749" cy="2026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65" name="TextBox 164">
            <a:extLst>
              <a:ext uri="{FF2B5EF4-FFF2-40B4-BE49-F238E27FC236}">
                <a16:creationId xmlns:a16="http://schemas.microsoft.com/office/drawing/2014/main" id="{B551C110-73DE-4300-A268-AA4E32BAFE7B}"/>
              </a:ext>
            </a:extLst>
          </p:cNvPr>
          <p:cNvSpPr txBox="1"/>
          <p:nvPr/>
        </p:nvSpPr>
        <p:spPr>
          <a:xfrm>
            <a:off x="605367" y="4644189"/>
            <a:ext cx="9080019" cy="93871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/>
              <a:t>1 – Developer pushes the code in Feature Branch</a:t>
            </a:r>
          </a:p>
          <a:p>
            <a:r>
              <a:rPr lang="en-US" sz="1100" dirty="0"/>
              <a:t>2 – Developer raise a pull request to merge the code to Staging/Prod Branch</a:t>
            </a:r>
          </a:p>
          <a:p>
            <a:r>
              <a:rPr lang="en-US" sz="1100" dirty="0"/>
              <a:t>3 – If the review fails, developer need to re-check the code</a:t>
            </a:r>
          </a:p>
          <a:p>
            <a:r>
              <a:rPr lang="en-US" sz="1100" dirty="0"/>
              <a:t>4 – If the build or Staging validation Or SonarQube fails an email notification will send to respective development team</a:t>
            </a:r>
          </a:p>
          <a:p>
            <a:r>
              <a:rPr lang="en-US" sz="1100" dirty="0"/>
              <a:t>        -  Build/PR/SonarQube/Staging Pass	          -  Build/PR/SonarQube/Staging Fails </a:t>
            </a:r>
          </a:p>
        </p:txBody>
      </p:sp>
      <p:pic>
        <p:nvPicPr>
          <p:cNvPr id="2066" name="Picture 18" descr="Four free icon">
            <a:extLst>
              <a:ext uri="{FF2B5EF4-FFF2-40B4-BE49-F238E27FC236}">
                <a16:creationId xmlns:a16="http://schemas.microsoft.com/office/drawing/2014/main" id="{74D3C8C6-A3F9-4663-8F7B-C393DB6F96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5597" y="974070"/>
            <a:ext cx="235441" cy="235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" name="Picture 12" descr="Success free icon">
            <a:extLst>
              <a:ext uri="{FF2B5EF4-FFF2-40B4-BE49-F238E27FC236}">
                <a16:creationId xmlns:a16="http://schemas.microsoft.com/office/drawing/2014/main" id="{0C6F622A-5E74-426E-B627-078BCB331F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940" y="5364658"/>
            <a:ext cx="213190" cy="213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" name="Picture 14" descr="Error free icon">
            <a:extLst>
              <a:ext uri="{FF2B5EF4-FFF2-40B4-BE49-F238E27FC236}">
                <a16:creationId xmlns:a16="http://schemas.microsoft.com/office/drawing/2014/main" id="{D70A7F9E-6C73-47CF-986C-739C503CA3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4593" y="5359864"/>
            <a:ext cx="211119" cy="211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72629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506A01-B35F-4CCC-9789-6ADBCF459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378460"/>
            <a:ext cx="10145760" cy="307777"/>
          </a:xfrm>
        </p:spPr>
        <p:txBody>
          <a:bodyPr/>
          <a:lstStyle/>
          <a:p>
            <a:r>
              <a:rPr lang="en-US" sz="2000" dirty="0"/>
              <a:t>Azure DevOps Workflow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C371993B-94F9-4F7E-B5E2-070E3930603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61253" y="1601206"/>
            <a:ext cx="330217" cy="395417"/>
          </a:xfr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AC4A0F-95C6-4929-B4CA-EE0A78180D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9714A1-E272-4814-A533-E35AEBF02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F8E93A-FFB9-4AD9-A182-9989529C9C89}" type="slidenum">
              <a:rPr lang="en-US" smtClean="0"/>
              <a:t>3</a:t>
            </a:fld>
            <a:endParaRPr lang="en-US"/>
          </a:p>
        </p:txBody>
      </p:sp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66E916A6-1EE4-46D4-B653-99B1252E7F59}"/>
              </a:ext>
            </a:extLst>
          </p:cNvPr>
          <p:cNvSpPr/>
          <p:nvPr/>
        </p:nvSpPr>
        <p:spPr bwMode="auto">
          <a:xfrm>
            <a:off x="631603" y="1573619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7AE8AC8-B60A-47A2-B115-8626F4793880}"/>
              </a:ext>
            </a:extLst>
          </p:cNvPr>
          <p:cNvSpPr/>
          <p:nvPr/>
        </p:nvSpPr>
        <p:spPr>
          <a:xfrm>
            <a:off x="756592" y="1938211"/>
            <a:ext cx="73953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   User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40987D97-4923-4EE9-8A73-F71E5B498F06}"/>
              </a:ext>
            </a:extLst>
          </p:cNvPr>
          <p:cNvCxnSpPr>
            <a:cxnSpLocks/>
          </p:cNvCxnSpPr>
          <p:nvPr/>
        </p:nvCxnSpPr>
        <p:spPr bwMode="auto">
          <a:xfrm flipV="1">
            <a:off x="1621120" y="1854943"/>
            <a:ext cx="499730" cy="1063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3" name="Rectangle: Diagonal Corners Rounded 12">
            <a:extLst>
              <a:ext uri="{FF2B5EF4-FFF2-40B4-BE49-F238E27FC236}">
                <a16:creationId xmlns:a16="http://schemas.microsoft.com/office/drawing/2014/main" id="{3B00EA35-5DBB-4D98-9DAB-91F0563CDB3F}"/>
              </a:ext>
            </a:extLst>
          </p:cNvPr>
          <p:cNvSpPr/>
          <p:nvPr/>
        </p:nvSpPr>
        <p:spPr bwMode="auto">
          <a:xfrm>
            <a:off x="2115878" y="1573619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0C3C4ED-E480-4584-A773-4DAD957DFF53}"/>
              </a:ext>
            </a:extLst>
          </p:cNvPr>
          <p:cNvCxnSpPr>
            <a:cxnSpLocks/>
          </p:cNvCxnSpPr>
          <p:nvPr/>
        </p:nvCxnSpPr>
        <p:spPr bwMode="auto">
          <a:xfrm flipV="1">
            <a:off x="3100423" y="1865576"/>
            <a:ext cx="499730" cy="1063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5" name="Rectangle: Diagonal Corners Rounded 14">
            <a:extLst>
              <a:ext uri="{FF2B5EF4-FFF2-40B4-BE49-F238E27FC236}">
                <a16:creationId xmlns:a16="http://schemas.microsoft.com/office/drawing/2014/main" id="{DC87D54F-A397-49E4-BB9C-F9AF3CE2785C}"/>
              </a:ext>
            </a:extLst>
          </p:cNvPr>
          <p:cNvSpPr/>
          <p:nvPr/>
        </p:nvSpPr>
        <p:spPr bwMode="auto">
          <a:xfrm>
            <a:off x="3609332" y="1578497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87C03ED-05AB-4ED7-8881-83B9257FC5B5}"/>
              </a:ext>
            </a:extLst>
          </p:cNvPr>
          <p:cNvCxnSpPr>
            <a:cxnSpLocks/>
          </p:cNvCxnSpPr>
          <p:nvPr/>
        </p:nvCxnSpPr>
        <p:spPr bwMode="auto">
          <a:xfrm flipV="1">
            <a:off x="4624668" y="1876209"/>
            <a:ext cx="499730" cy="1063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0" name="Rectangle: Diagonal Corners Rounded 19">
            <a:extLst>
              <a:ext uri="{FF2B5EF4-FFF2-40B4-BE49-F238E27FC236}">
                <a16:creationId xmlns:a16="http://schemas.microsoft.com/office/drawing/2014/main" id="{B49E46DF-7B59-4E90-9D19-EFC7D067D76D}"/>
              </a:ext>
            </a:extLst>
          </p:cNvPr>
          <p:cNvSpPr/>
          <p:nvPr/>
        </p:nvSpPr>
        <p:spPr bwMode="auto">
          <a:xfrm>
            <a:off x="5093606" y="1578497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47EF115D-05B8-43E7-BBA8-BCB9B110EDAC}"/>
              </a:ext>
            </a:extLst>
          </p:cNvPr>
          <p:cNvCxnSpPr>
            <a:cxnSpLocks/>
          </p:cNvCxnSpPr>
          <p:nvPr/>
        </p:nvCxnSpPr>
        <p:spPr bwMode="auto">
          <a:xfrm flipV="1">
            <a:off x="6096000" y="1898917"/>
            <a:ext cx="499730" cy="1063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2" name="Rectangle: Diagonal Corners Rounded 21">
            <a:extLst>
              <a:ext uri="{FF2B5EF4-FFF2-40B4-BE49-F238E27FC236}">
                <a16:creationId xmlns:a16="http://schemas.microsoft.com/office/drawing/2014/main" id="{3CE1BC12-578C-4D92-92ED-2EFCA8AE2225}"/>
              </a:ext>
            </a:extLst>
          </p:cNvPr>
          <p:cNvSpPr/>
          <p:nvPr/>
        </p:nvSpPr>
        <p:spPr bwMode="auto">
          <a:xfrm>
            <a:off x="6577433" y="1601206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A59749A7-D52C-48A1-AA2B-25FAA3AC1C2C}"/>
              </a:ext>
            </a:extLst>
          </p:cNvPr>
          <p:cNvCxnSpPr>
            <a:cxnSpLocks/>
          </p:cNvCxnSpPr>
          <p:nvPr/>
        </p:nvCxnSpPr>
        <p:spPr bwMode="auto">
          <a:xfrm flipV="1">
            <a:off x="7535774" y="1898918"/>
            <a:ext cx="499730" cy="1063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4" name="Rectangle: Diagonal Corners Rounded 23">
            <a:extLst>
              <a:ext uri="{FF2B5EF4-FFF2-40B4-BE49-F238E27FC236}">
                <a16:creationId xmlns:a16="http://schemas.microsoft.com/office/drawing/2014/main" id="{5D901261-F9CC-4484-AA3E-9DC870A3FC54}"/>
              </a:ext>
            </a:extLst>
          </p:cNvPr>
          <p:cNvSpPr/>
          <p:nvPr/>
        </p:nvSpPr>
        <p:spPr bwMode="auto">
          <a:xfrm>
            <a:off x="8011586" y="1601206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8CC72902-6714-47CB-8900-B9DB9FD1C244}"/>
              </a:ext>
            </a:extLst>
          </p:cNvPr>
          <p:cNvCxnSpPr>
            <a:cxnSpLocks/>
          </p:cNvCxnSpPr>
          <p:nvPr/>
        </p:nvCxnSpPr>
        <p:spPr bwMode="auto">
          <a:xfrm flipV="1">
            <a:off x="9001103" y="1927578"/>
            <a:ext cx="499730" cy="1063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6" name="Rectangle: Diagonal Corners Rounded 25">
            <a:extLst>
              <a:ext uri="{FF2B5EF4-FFF2-40B4-BE49-F238E27FC236}">
                <a16:creationId xmlns:a16="http://schemas.microsoft.com/office/drawing/2014/main" id="{9B557A7E-FC25-45F5-B325-FAA02E5D03A4}"/>
              </a:ext>
            </a:extLst>
          </p:cNvPr>
          <p:cNvSpPr/>
          <p:nvPr/>
        </p:nvSpPr>
        <p:spPr bwMode="auto">
          <a:xfrm>
            <a:off x="9426439" y="1578497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pic>
        <p:nvPicPr>
          <p:cNvPr id="27" name="Picture 26" descr="Bitbucket Pricing Hike Increases Cost Per User by 100% – WP Tavern">
            <a:extLst>
              <a:ext uri="{FF2B5EF4-FFF2-40B4-BE49-F238E27FC236}">
                <a16:creationId xmlns:a16="http://schemas.microsoft.com/office/drawing/2014/main" id="{DE841479-A8D4-4ED8-BC08-1B90146D67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4795" y="1664982"/>
            <a:ext cx="808218" cy="205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B7E79403-EB05-4749-B5EC-3554903863D7}"/>
              </a:ext>
            </a:extLst>
          </p:cNvPr>
          <p:cNvSpPr/>
          <p:nvPr/>
        </p:nvSpPr>
        <p:spPr>
          <a:xfrm>
            <a:off x="2156714" y="1898918"/>
            <a:ext cx="106943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Feature Branch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6AA6BF0E-8A2A-4DB6-AF5C-CCC03AFEA8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2132" y="1630125"/>
            <a:ext cx="499730" cy="405351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2AB9866F-C19A-4AE3-AE02-8D8BD5DC3C56}"/>
              </a:ext>
            </a:extLst>
          </p:cNvPr>
          <p:cNvSpPr/>
          <p:nvPr/>
        </p:nvSpPr>
        <p:spPr>
          <a:xfrm>
            <a:off x="3656414" y="1938211"/>
            <a:ext cx="106943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Pull Request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 panose="020B0702040204020203" pitchFamily="34" charset="0"/>
              <a:ea typeface="MS PGothic" panose="020B0600070205080204" pitchFamily="34" charset="-128"/>
              <a:cs typeface="Segoe UI Semibold" panose="020B0702040204020203" pitchFamily="34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2A9C549-23F8-4BF1-937C-0356FA3207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51379" y="1707001"/>
            <a:ext cx="583430" cy="295884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CD72ABA8-F9EF-42C6-A5F5-A89587F4608C}"/>
              </a:ext>
            </a:extLst>
          </p:cNvPr>
          <p:cNvSpPr/>
          <p:nvPr/>
        </p:nvSpPr>
        <p:spPr>
          <a:xfrm>
            <a:off x="5170481" y="1944674"/>
            <a:ext cx="106943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Merge the PR</a:t>
            </a:r>
          </a:p>
        </p:txBody>
      </p:sp>
      <p:pic>
        <p:nvPicPr>
          <p:cNvPr id="35" name="Picture 34" descr="Bitbucket Pricing Hike Increases Cost Per User by 100% – WP Tavern">
            <a:extLst>
              <a:ext uri="{FF2B5EF4-FFF2-40B4-BE49-F238E27FC236}">
                <a16:creationId xmlns:a16="http://schemas.microsoft.com/office/drawing/2014/main" id="{F0AE565C-D64C-4DD1-840E-A331D61395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118" y="1681373"/>
            <a:ext cx="808218" cy="205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8EF7ACC5-729E-4CE9-9D5A-3EF2A47D8097}"/>
              </a:ext>
            </a:extLst>
          </p:cNvPr>
          <p:cNvSpPr/>
          <p:nvPr/>
        </p:nvSpPr>
        <p:spPr>
          <a:xfrm>
            <a:off x="6581987" y="1899383"/>
            <a:ext cx="106943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Staging Branch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804C10F-80DF-416C-9DE4-38ADA6A3EB75}"/>
              </a:ext>
            </a:extLst>
          </p:cNvPr>
          <p:cNvSpPr/>
          <p:nvPr/>
        </p:nvSpPr>
        <p:spPr>
          <a:xfrm>
            <a:off x="8020653" y="1927963"/>
            <a:ext cx="147085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Azure Pipeline </a:t>
            </a:r>
          </a:p>
        </p:txBody>
      </p:sp>
      <p:pic>
        <p:nvPicPr>
          <p:cNvPr id="2050" name="Picture 2" descr="One free icon">
            <a:extLst>
              <a:ext uri="{FF2B5EF4-FFF2-40B4-BE49-F238E27FC236}">
                <a16:creationId xmlns:a16="http://schemas.microsoft.com/office/drawing/2014/main" id="{2BBF7392-A4EA-441E-BA46-322D1A2219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0159" y="1616461"/>
            <a:ext cx="163510" cy="221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Two free icon">
            <a:extLst>
              <a:ext uri="{FF2B5EF4-FFF2-40B4-BE49-F238E27FC236}">
                <a16:creationId xmlns:a16="http://schemas.microsoft.com/office/drawing/2014/main" id="{9F0E1D6E-B66B-4EA1-8CE2-9037A889EE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9865" y="1681373"/>
            <a:ext cx="329238" cy="173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5D0E67A4-B082-443C-9CEA-E7F826167033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4844955" y="1187356"/>
            <a:ext cx="6694" cy="67822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DA0C72D6-ABE3-493F-B993-7FB4E5B1105A}"/>
              </a:ext>
            </a:extLst>
          </p:cNvPr>
          <p:cNvCxnSpPr>
            <a:cxnSpLocks/>
          </p:cNvCxnSpPr>
          <p:nvPr/>
        </p:nvCxnSpPr>
        <p:spPr bwMode="auto">
          <a:xfrm flipV="1">
            <a:off x="2714591" y="1174463"/>
            <a:ext cx="0" cy="39616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DB39ECA7-194F-4F49-821D-FFE7EC1A832C}"/>
              </a:ext>
            </a:extLst>
          </p:cNvPr>
          <p:cNvCxnSpPr>
            <a:cxnSpLocks/>
          </p:cNvCxnSpPr>
          <p:nvPr/>
        </p:nvCxnSpPr>
        <p:spPr bwMode="auto">
          <a:xfrm flipH="1">
            <a:off x="3911948" y="1229645"/>
            <a:ext cx="933008" cy="505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2054" name="Picture 6" descr="Three free icon">
            <a:extLst>
              <a:ext uri="{FF2B5EF4-FFF2-40B4-BE49-F238E27FC236}">
                <a16:creationId xmlns:a16="http://schemas.microsoft.com/office/drawing/2014/main" id="{715F8450-8A1C-4066-847C-067F6A4A83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1375" y="1006838"/>
            <a:ext cx="230630" cy="246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5006DF6D-F900-4C4D-8929-377DD9876AA3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2683948" y="1240879"/>
            <a:ext cx="904656" cy="505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57" name="Picture 56">
            <a:extLst>
              <a:ext uri="{FF2B5EF4-FFF2-40B4-BE49-F238E27FC236}">
                <a16:creationId xmlns:a16="http://schemas.microsoft.com/office/drawing/2014/main" id="{BF2C7FD5-484C-4811-9846-EE38E5C8E7C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76537" y="2931043"/>
            <a:ext cx="960142" cy="265015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45B7F38F-D51C-4BD3-8D66-F78BBB28B40C}"/>
              </a:ext>
            </a:extLst>
          </p:cNvPr>
          <p:cNvSpPr/>
          <p:nvPr/>
        </p:nvSpPr>
        <p:spPr>
          <a:xfrm>
            <a:off x="2375854" y="3234925"/>
            <a:ext cx="146468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Code Coverage</a:t>
            </a: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C0F3F7DA-4C40-4515-83D9-B125D332FC3C}"/>
              </a:ext>
            </a:extLst>
          </p:cNvPr>
          <p:cNvCxnSpPr>
            <a:cxnSpLocks/>
          </p:cNvCxnSpPr>
          <p:nvPr/>
        </p:nvCxnSpPr>
        <p:spPr bwMode="auto">
          <a:xfrm flipV="1">
            <a:off x="9220987" y="1187356"/>
            <a:ext cx="4580" cy="762299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A0BF7351-A688-498A-B428-D4DC0CD32BDC}"/>
              </a:ext>
            </a:extLst>
          </p:cNvPr>
          <p:cNvCxnSpPr>
            <a:cxnSpLocks/>
            <a:endCxn id="2058" idx="3"/>
          </p:cNvCxnSpPr>
          <p:nvPr/>
        </p:nvCxnSpPr>
        <p:spPr bwMode="auto">
          <a:xfrm flipH="1">
            <a:off x="7417529" y="1240879"/>
            <a:ext cx="1796764" cy="6184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519ABDD8-AF92-48AD-A1CF-C6C813FE46A8}"/>
              </a:ext>
            </a:extLst>
          </p:cNvPr>
          <p:cNvCxnSpPr>
            <a:cxnSpLocks/>
          </p:cNvCxnSpPr>
          <p:nvPr/>
        </p:nvCxnSpPr>
        <p:spPr bwMode="auto">
          <a:xfrm flipH="1">
            <a:off x="4874388" y="1234696"/>
            <a:ext cx="2117258" cy="12367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2058" name="Picture 10" descr="Outlook free icon">
            <a:extLst>
              <a:ext uri="{FF2B5EF4-FFF2-40B4-BE49-F238E27FC236}">
                <a16:creationId xmlns:a16="http://schemas.microsoft.com/office/drawing/2014/main" id="{26C234E8-C252-4827-BEB9-D44B42421C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4268" y="1020432"/>
            <a:ext cx="453261" cy="453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Success free icon">
            <a:extLst>
              <a:ext uri="{FF2B5EF4-FFF2-40B4-BE49-F238E27FC236}">
                <a16:creationId xmlns:a16="http://schemas.microsoft.com/office/drawing/2014/main" id="{BB7B2255-ED66-4F01-95DB-3E41768345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2091" y="2011013"/>
            <a:ext cx="213190" cy="213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Error free icon">
            <a:extLst>
              <a:ext uri="{FF2B5EF4-FFF2-40B4-BE49-F238E27FC236}">
                <a16:creationId xmlns:a16="http://schemas.microsoft.com/office/drawing/2014/main" id="{10D98FC7-A9DC-419A-98B8-36E76CD4D9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0972" y="1304188"/>
            <a:ext cx="211119" cy="211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12" descr="Success free icon">
            <a:extLst>
              <a:ext uri="{FF2B5EF4-FFF2-40B4-BE49-F238E27FC236}">
                <a16:creationId xmlns:a16="http://schemas.microsoft.com/office/drawing/2014/main" id="{4B440AB6-65B5-446A-A5C7-423F9C3AA1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2974" y="1955853"/>
            <a:ext cx="213190" cy="213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14" descr="Error free icon">
            <a:extLst>
              <a:ext uri="{FF2B5EF4-FFF2-40B4-BE49-F238E27FC236}">
                <a16:creationId xmlns:a16="http://schemas.microsoft.com/office/drawing/2014/main" id="{9AF8C21A-1F27-4B5B-B1C5-E3E8930655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0870" y="1315347"/>
            <a:ext cx="211119" cy="211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258BD734-9CC2-4EB8-BB20-2BA5EA68DFD1}"/>
              </a:ext>
            </a:extLst>
          </p:cNvPr>
          <p:cNvCxnSpPr>
            <a:cxnSpLocks/>
          </p:cNvCxnSpPr>
          <p:nvPr/>
        </p:nvCxnSpPr>
        <p:spPr bwMode="auto">
          <a:xfrm flipV="1">
            <a:off x="10420361" y="1918572"/>
            <a:ext cx="499730" cy="1063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94" name="Rectangle: Diagonal Corners Rounded 93">
            <a:extLst>
              <a:ext uri="{FF2B5EF4-FFF2-40B4-BE49-F238E27FC236}">
                <a16:creationId xmlns:a16="http://schemas.microsoft.com/office/drawing/2014/main" id="{0950ABCC-41DA-4875-AECD-F9858309C26F}"/>
              </a:ext>
            </a:extLst>
          </p:cNvPr>
          <p:cNvSpPr/>
          <p:nvPr/>
        </p:nvSpPr>
        <p:spPr bwMode="auto">
          <a:xfrm>
            <a:off x="10839621" y="1580082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5C258309-5C69-4C1E-9533-947C7CFF7A72}"/>
              </a:ext>
            </a:extLst>
          </p:cNvPr>
          <p:cNvSpPr/>
          <p:nvPr/>
        </p:nvSpPr>
        <p:spPr>
          <a:xfrm>
            <a:off x="10828055" y="1934641"/>
            <a:ext cx="146468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Artifact Repo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 panose="020B0702040204020203" pitchFamily="34" charset="0"/>
              <a:ea typeface="MS PGothic" panose="020B0600070205080204" pitchFamily="34" charset="-128"/>
              <a:cs typeface="Segoe UI Semibold" panose="020B0702040204020203" pitchFamily="34" charset="0"/>
            </a:endParaRPr>
          </a:p>
        </p:txBody>
      </p: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059FD1E5-70D6-4B08-9CC4-088FD75FE088}"/>
              </a:ext>
            </a:extLst>
          </p:cNvPr>
          <p:cNvCxnSpPr>
            <a:cxnSpLocks/>
          </p:cNvCxnSpPr>
          <p:nvPr/>
        </p:nvCxnSpPr>
        <p:spPr bwMode="auto">
          <a:xfrm flipV="1">
            <a:off x="10609879" y="1187356"/>
            <a:ext cx="15619" cy="731529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BB48F795-49CC-4FB4-831D-1FB41C7ED25E}"/>
              </a:ext>
            </a:extLst>
          </p:cNvPr>
          <p:cNvCxnSpPr/>
          <p:nvPr/>
        </p:nvCxnSpPr>
        <p:spPr bwMode="auto">
          <a:xfrm flipH="1">
            <a:off x="9220987" y="1229645"/>
            <a:ext cx="1404511" cy="11234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01" name="Picture 12" descr="Success free icon">
            <a:extLst>
              <a:ext uri="{FF2B5EF4-FFF2-40B4-BE49-F238E27FC236}">
                <a16:creationId xmlns:a16="http://schemas.microsoft.com/office/drawing/2014/main" id="{F3CEB43D-909E-4F12-8B44-CA14414727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655" y="2046541"/>
            <a:ext cx="213190" cy="213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Picture 14" descr="Error free icon">
            <a:extLst>
              <a:ext uri="{FF2B5EF4-FFF2-40B4-BE49-F238E27FC236}">
                <a16:creationId xmlns:a16="http://schemas.microsoft.com/office/drawing/2014/main" id="{0F9D9F02-600F-4799-85FD-B39D49FB6B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4288" y="1308392"/>
            <a:ext cx="211119" cy="211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Code review free icon">
            <a:extLst>
              <a:ext uri="{FF2B5EF4-FFF2-40B4-BE49-F238E27FC236}">
                <a16:creationId xmlns:a16="http://schemas.microsoft.com/office/drawing/2014/main" id="{D3D6563E-B932-4FE8-BAAC-1C22FC019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9418" y="1031914"/>
            <a:ext cx="458456" cy="458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7D2EF966-86D0-4FF2-AFC6-BA2EB99193DA}"/>
              </a:ext>
            </a:extLst>
          </p:cNvPr>
          <p:cNvCxnSpPr>
            <a:cxnSpLocks/>
            <a:stCxn id="94" idx="1"/>
          </p:cNvCxnSpPr>
          <p:nvPr/>
        </p:nvCxnSpPr>
        <p:spPr bwMode="auto">
          <a:xfrm>
            <a:off x="11334380" y="2175506"/>
            <a:ext cx="0" cy="579726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7" name="Rectangle: Diagonal Corners Rounded 106">
            <a:extLst>
              <a:ext uri="{FF2B5EF4-FFF2-40B4-BE49-F238E27FC236}">
                <a16:creationId xmlns:a16="http://schemas.microsoft.com/office/drawing/2014/main" id="{0F2B7AAC-18BD-4115-A1B6-9FBA2DB3A1EA}"/>
              </a:ext>
            </a:extLst>
          </p:cNvPr>
          <p:cNvSpPr/>
          <p:nvPr/>
        </p:nvSpPr>
        <p:spPr bwMode="auto">
          <a:xfrm>
            <a:off x="10839621" y="2775188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F112278F-3EE9-44CD-8054-A5543F59B6CB}"/>
              </a:ext>
            </a:extLst>
          </p:cNvPr>
          <p:cNvCxnSpPr>
            <a:stCxn id="107" idx="2"/>
          </p:cNvCxnSpPr>
          <p:nvPr/>
        </p:nvCxnSpPr>
        <p:spPr bwMode="auto">
          <a:xfrm flipH="1">
            <a:off x="10415957" y="3072900"/>
            <a:ext cx="423664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0" name="Rectangle: Diagonal Corners Rounded 109">
            <a:extLst>
              <a:ext uri="{FF2B5EF4-FFF2-40B4-BE49-F238E27FC236}">
                <a16:creationId xmlns:a16="http://schemas.microsoft.com/office/drawing/2014/main" id="{ACAE6D31-1619-44E9-BE0E-E25748EB6840}"/>
              </a:ext>
            </a:extLst>
          </p:cNvPr>
          <p:cNvSpPr/>
          <p:nvPr/>
        </p:nvSpPr>
        <p:spPr bwMode="auto">
          <a:xfrm>
            <a:off x="9424488" y="2787643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pic>
        <p:nvPicPr>
          <p:cNvPr id="111" name="Picture 110">
            <a:extLst>
              <a:ext uri="{FF2B5EF4-FFF2-40B4-BE49-F238E27FC236}">
                <a16:creationId xmlns:a16="http://schemas.microsoft.com/office/drawing/2014/main" id="{9523C6E8-7703-4390-8FA4-C4F27D5E4A4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083694" y="2787645"/>
            <a:ext cx="498533" cy="365872"/>
          </a:xfrm>
          <a:prstGeom prst="rect">
            <a:avLst/>
          </a:prstGeom>
        </p:spPr>
      </p:pic>
      <p:sp>
        <p:nvSpPr>
          <p:cNvPr id="112" name="Rectangle 111">
            <a:extLst>
              <a:ext uri="{FF2B5EF4-FFF2-40B4-BE49-F238E27FC236}">
                <a16:creationId xmlns:a16="http://schemas.microsoft.com/office/drawing/2014/main" id="{70ECB662-6F73-4DB5-92BA-87F5A1B2B3A8}"/>
              </a:ext>
            </a:extLst>
          </p:cNvPr>
          <p:cNvSpPr/>
          <p:nvPr/>
        </p:nvSpPr>
        <p:spPr>
          <a:xfrm>
            <a:off x="10920091" y="3139780"/>
            <a:ext cx="146468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Azure Web App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 panose="020B0702040204020203" pitchFamily="34" charset="0"/>
              <a:ea typeface="MS PGothic" panose="020B0600070205080204" pitchFamily="34" charset="-128"/>
              <a:cs typeface="Segoe UI Semibold" panose="020B0702040204020203" pitchFamily="34" charset="0"/>
            </a:endParaRPr>
          </a:p>
        </p:txBody>
      </p: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3FE1D50E-607A-4915-BB78-FC11E506815E}"/>
              </a:ext>
            </a:extLst>
          </p:cNvPr>
          <p:cNvCxnSpPr/>
          <p:nvPr/>
        </p:nvCxnSpPr>
        <p:spPr bwMode="auto">
          <a:xfrm flipH="1">
            <a:off x="9009155" y="3049599"/>
            <a:ext cx="423664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4" name="Rectangle: Diagonal Corners Rounded 113">
            <a:extLst>
              <a:ext uri="{FF2B5EF4-FFF2-40B4-BE49-F238E27FC236}">
                <a16:creationId xmlns:a16="http://schemas.microsoft.com/office/drawing/2014/main" id="{83DC387F-BB07-4363-AFFD-85F068AAC2EA}"/>
              </a:ext>
            </a:extLst>
          </p:cNvPr>
          <p:cNvSpPr/>
          <p:nvPr/>
        </p:nvSpPr>
        <p:spPr bwMode="auto">
          <a:xfrm>
            <a:off x="8048498" y="2787643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828F1B91-D0A3-4594-B7CD-F7ECB6EDB561}"/>
              </a:ext>
            </a:extLst>
          </p:cNvPr>
          <p:cNvCxnSpPr/>
          <p:nvPr/>
        </p:nvCxnSpPr>
        <p:spPr bwMode="auto">
          <a:xfrm flipH="1">
            <a:off x="7611840" y="3115028"/>
            <a:ext cx="423664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6" name="Rectangle: Diagonal Corners Rounded 115">
            <a:extLst>
              <a:ext uri="{FF2B5EF4-FFF2-40B4-BE49-F238E27FC236}">
                <a16:creationId xmlns:a16="http://schemas.microsoft.com/office/drawing/2014/main" id="{58DE8CA6-B6FA-4414-965E-0FF942494123}"/>
              </a:ext>
            </a:extLst>
          </p:cNvPr>
          <p:cNvSpPr/>
          <p:nvPr/>
        </p:nvSpPr>
        <p:spPr bwMode="auto">
          <a:xfrm>
            <a:off x="6686260" y="2833576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pic>
        <p:nvPicPr>
          <p:cNvPr id="117" name="Picture 116" descr="Bitbucket Pricing Hike Increases Cost Per User by 100% – WP Tavern">
            <a:extLst>
              <a:ext uri="{FF2B5EF4-FFF2-40B4-BE49-F238E27FC236}">
                <a16:creationId xmlns:a16="http://schemas.microsoft.com/office/drawing/2014/main" id="{7F651B09-74FE-4204-B6E6-10524B2432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4661" y="2817028"/>
            <a:ext cx="808218" cy="205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8" name="Rectangle 117">
            <a:extLst>
              <a:ext uri="{FF2B5EF4-FFF2-40B4-BE49-F238E27FC236}">
                <a16:creationId xmlns:a16="http://schemas.microsoft.com/office/drawing/2014/main" id="{56B3C426-F1C1-499F-A22F-DC4672AE03DF}"/>
              </a:ext>
            </a:extLst>
          </p:cNvPr>
          <p:cNvSpPr/>
          <p:nvPr/>
        </p:nvSpPr>
        <p:spPr>
          <a:xfrm>
            <a:off x="9491507" y="3099369"/>
            <a:ext cx="106943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Staging Branch</a:t>
            </a:r>
          </a:p>
        </p:txBody>
      </p:sp>
      <p:pic>
        <p:nvPicPr>
          <p:cNvPr id="119" name="Picture 118">
            <a:extLst>
              <a:ext uri="{FF2B5EF4-FFF2-40B4-BE49-F238E27FC236}">
                <a16:creationId xmlns:a16="http://schemas.microsoft.com/office/drawing/2014/main" id="{5716B122-E585-4CB5-89DB-AD1B4C35EC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33674" y="2817028"/>
            <a:ext cx="499730" cy="405351"/>
          </a:xfrm>
          <a:prstGeom prst="rect">
            <a:avLst/>
          </a:prstGeom>
        </p:spPr>
      </p:pic>
      <p:sp>
        <p:nvSpPr>
          <p:cNvPr id="120" name="Rectangle 119">
            <a:extLst>
              <a:ext uri="{FF2B5EF4-FFF2-40B4-BE49-F238E27FC236}">
                <a16:creationId xmlns:a16="http://schemas.microsoft.com/office/drawing/2014/main" id="{07E8700B-C8F5-4B10-967B-249099944B8E}"/>
              </a:ext>
            </a:extLst>
          </p:cNvPr>
          <p:cNvSpPr/>
          <p:nvPr/>
        </p:nvSpPr>
        <p:spPr>
          <a:xfrm>
            <a:off x="8097713" y="3186015"/>
            <a:ext cx="106943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Pull Request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 panose="020B0702040204020203" pitchFamily="34" charset="0"/>
              <a:ea typeface="MS PGothic" panose="020B0600070205080204" pitchFamily="34" charset="-128"/>
              <a:cs typeface="Segoe UI Semibold" panose="020B0702040204020203" pitchFamily="34" charset="0"/>
            </a:endParaRPr>
          </a:p>
        </p:txBody>
      </p:sp>
      <p:pic>
        <p:nvPicPr>
          <p:cNvPr id="121" name="Picture 120">
            <a:extLst>
              <a:ext uri="{FF2B5EF4-FFF2-40B4-BE49-F238E27FC236}">
                <a16:creationId xmlns:a16="http://schemas.microsoft.com/office/drawing/2014/main" id="{760A48DB-1753-4AFE-A546-2480E956C5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88508" y="2901657"/>
            <a:ext cx="583430" cy="295884"/>
          </a:xfrm>
          <a:prstGeom prst="rect">
            <a:avLst/>
          </a:prstGeom>
        </p:spPr>
      </p:pic>
      <p:sp>
        <p:nvSpPr>
          <p:cNvPr id="122" name="Rectangle 121">
            <a:extLst>
              <a:ext uri="{FF2B5EF4-FFF2-40B4-BE49-F238E27FC236}">
                <a16:creationId xmlns:a16="http://schemas.microsoft.com/office/drawing/2014/main" id="{3470A82C-995B-49C3-8136-49F751082B79}"/>
              </a:ext>
            </a:extLst>
          </p:cNvPr>
          <p:cNvSpPr/>
          <p:nvPr/>
        </p:nvSpPr>
        <p:spPr>
          <a:xfrm>
            <a:off x="6656182" y="3214785"/>
            <a:ext cx="106943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Merge the PR</a:t>
            </a:r>
          </a:p>
        </p:txBody>
      </p:sp>
      <p:sp>
        <p:nvSpPr>
          <p:cNvPr id="123" name="Rectangle: Diagonal Corners Rounded 122">
            <a:extLst>
              <a:ext uri="{FF2B5EF4-FFF2-40B4-BE49-F238E27FC236}">
                <a16:creationId xmlns:a16="http://schemas.microsoft.com/office/drawing/2014/main" id="{5444CD48-6782-45AB-833B-69B630EA5237}"/>
              </a:ext>
            </a:extLst>
          </p:cNvPr>
          <p:cNvSpPr/>
          <p:nvPr/>
        </p:nvSpPr>
        <p:spPr bwMode="auto">
          <a:xfrm>
            <a:off x="5302268" y="2877687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cxnSp>
        <p:nvCxnSpPr>
          <p:cNvPr id="124" name="Straight Arrow Connector 123">
            <a:extLst>
              <a:ext uri="{FF2B5EF4-FFF2-40B4-BE49-F238E27FC236}">
                <a16:creationId xmlns:a16="http://schemas.microsoft.com/office/drawing/2014/main" id="{45E37823-9326-43E2-A1E1-F073B3538F57}"/>
              </a:ext>
            </a:extLst>
          </p:cNvPr>
          <p:cNvCxnSpPr/>
          <p:nvPr/>
        </p:nvCxnSpPr>
        <p:spPr bwMode="auto">
          <a:xfrm flipH="1">
            <a:off x="6283454" y="3153517"/>
            <a:ext cx="423664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25" name="Picture 124" descr="Bitbucket Pricing Hike Increases Cost Per User by 100% – WP Tavern">
            <a:extLst>
              <a:ext uri="{FF2B5EF4-FFF2-40B4-BE49-F238E27FC236}">
                <a16:creationId xmlns:a16="http://schemas.microsoft.com/office/drawing/2014/main" id="{48738F48-75C5-4E7E-BE98-397EC972A6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4541" y="3007075"/>
            <a:ext cx="808218" cy="205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6" name="Rectangle 125">
            <a:extLst>
              <a:ext uri="{FF2B5EF4-FFF2-40B4-BE49-F238E27FC236}">
                <a16:creationId xmlns:a16="http://schemas.microsoft.com/office/drawing/2014/main" id="{317B1940-05FC-4732-935A-E798E4C6B990}"/>
              </a:ext>
            </a:extLst>
          </p:cNvPr>
          <p:cNvSpPr/>
          <p:nvPr/>
        </p:nvSpPr>
        <p:spPr>
          <a:xfrm>
            <a:off x="5310229" y="3255196"/>
            <a:ext cx="106943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 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Prod Branch</a:t>
            </a:r>
          </a:p>
        </p:txBody>
      </p: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3FEF9BD8-32DD-427D-9CD6-41A03696F6D8}"/>
              </a:ext>
            </a:extLst>
          </p:cNvPr>
          <p:cNvCxnSpPr/>
          <p:nvPr/>
        </p:nvCxnSpPr>
        <p:spPr bwMode="auto">
          <a:xfrm flipH="1">
            <a:off x="4856656" y="3186015"/>
            <a:ext cx="423664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28" name="Rectangle: Diagonal Corners Rounded 127">
            <a:extLst>
              <a:ext uri="{FF2B5EF4-FFF2-40B4-BE49-F238E27FC236}">
                <a16:creationId xmlns:a16="http://schemas.microsoft.com/office/drawing/2014/main" id="{6585FFB8-22AD-4981-94BA-E2337814D832}"/>
              </a:ext>
            </a:extLst>
          </p:cNvPr>
          <p:cNvSpPr/>
          <p:nvPr/>
        </p:nvSpPr>
        <p:spPr bwMode="auto">
          <a:xfrm>
            <a:off x="3853838" y="2888303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31" name="Rectangle: Diagonal Corners Rounded 130">
            <a:extLst>
              <a:ext uri="{FF2B5EF4-FFF2-40B4-BE49-F238E27FC236}">
                <a16:creationId xmlns:a16="http://schemas.microsoft.com/office/drawing/2014/main" id="{29F8CAC5-BFCB-47E3-AC83-B9AC9D60BE11}"/>
              </a:ext>
            </a:extLst>
          </p:cNvPr>
          <p:cNvSpPr/>
          <p:nvPr/>
        </p:nvSpPr>
        <p:spPr bwMode="auto">
          <a:xfrm>
            <a:off x="2469786" y="2884248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9544EADA-9E21-467D-A269-6577B252512B}"/>
              </a:ext>
            </a:extLst>
          </p:cNvPr>
          <p:cNvCxnSpPr/>
          <p:nvPr/>
        </p:nvCxnSpPr>
        <p:spPr bwMode="auto">
          <a:xfrm flipH="1">
            <a:off x="3455796" y="3217161"/>
            <a:ext cx="423664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33" name="Picture 132">
            <a:extLst>
              <a:ext uri="{FF2B5EF4-FFF2-40B4-BE49-F238E27FC236}">
                <a16:creationId xmlns:a16="http://schemas.microsoft.com/office/drawing/2014/main" id="{7ACD3064-1DB3-4239-AF15-345908B059D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476378" y="1651375"/>
            <a:ext cx="960142" cy="265015"/>
          </a:xfrm>
          <a:prstGeom prst="rect">
            <a:avLst/>
          </a:prstGeom>
        </p:spPr>
      </p:pic>
      <p:sp>
        <p:nvSpPr>
          <p:cNvPr id="134" name="Rectangle 133">
            <a:extLst>
              <a:ext uri="{FF2B5EF4-FFF2-40B4-BE49-F238E27FC236}">
                <a16:creationId xmlns:a16="http://schemas.microsoft.com/office/drawing/2014/main" id="{9B276BD4-1CDA-410F-B62C-A427DC91ED6C}"/>
              </a:ext>
            </a:extLst>
          </p:cNvPr>
          <p:cNvSpPr/>
          <p:nvPr/>
        </p:nvSpPr>
        <p:spPr>
          <a:xfrm>
            <a:off x="9413202" y="1895597"/>
            <a:ext cx="146468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Code Coverage</a:t>
            </a:r>
          </a:p>
        </p:txBody>
      </p:sp>
      <p:sp>
        <p:nvSpPr>
          <p:cNvPr id="135" name="Rectangle: Diagonal Corners Rounded 134">
            <a:extLst>
              <a:ext uri="{FF2B5EF4-FFF2-40B4-BE49-F238E27FC236}">
                <a16:creationId xmlns:a16="http://schemas.microsoft.com/office/drawing/2014/main" id="{F42568C6-0D93-4EC8-8B35-5F745CCE8F76}"/>
              </a:ext>
            </a:extLst>
          </p:cNvPr>
          <p:cNvSpPr/>
          <p:nvPr/>
        </p:nvSpPr>
        <p:spPr bwMode="auto">
          <a:xfrm>
            <a:off x="1198611" y="2898346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36" name="Rectangle: Diagonal Corners Rounded 135">
            <a:extLst>
              <a:ext uri="{FF2B5EF4-FFF2-40B4-BE49-F238E27FC236}">
                <a16:creationId xmlns:a16="http://schemas.microsoft.com/office/drawing/2014/main" id="{224323F2-2BE1-4BF4-AC95-2B4A4ADEE30F}"/>
              </a:ext>
            </a:extLst>
          </p:cNvPr>
          <p:cNvSpPr/>
          <p:nvPr/>
        </p:nvSpPr>
        <p:spPr bwMode="auto">
          <a:xfrm>
            <a:off x="63787" y="2909534"/>
            <a:ext cx="989517" cy="595424"/>
          </a:xfrm>
          <a:prstGeom prst="round2Diag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8C8E2414-E0B3-446C-8F42-60BC9AE9ECF0}"/>
              </a:ext>
            </a:extLst>
          </p:cNvPr>
          <p:cNvSpPr/>
          <p:nvPr/>
        </p:nvSpPr>
        <p:spPr>
          <a:xfrm>
            <a:off x="1319294" y="3266239"/>
            <a:ext cx="146468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Artifact Repo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 panose="020B0702040204020203" pitchFamily="34" charset="0"/>
              <a:ea typeface="MS PGothic" panose="020B0600070205080204" pitchFamily="34" charset="-128"/>
              <a:cs typeface="Segoe UI Semibold" panose="020B0702040204020203" pitchFamily="34" charset="0"/>
            </a:endParaRPr>
          </a:p>
        </p:txBody>
      </p:sp>
      <p:cxnSp>
        <p:nvCxnSpPr>
          <p:cNvPr id="139" name="Straight Arrow Connector 138">
            <a:extLst>
              <a:ext uri="{FF2B5EF4-FFF2-40B4-BE49-F238E27FC236}">
                <a16:creationId xmlns:a16="http://schemas.microsoft.com/office/drawing/2014/main" id="{FD3C6262-D0DC-4CF4-8458-E05B56E1ABFC}"/>
              </a:ext>
            </a:extLst>
          </p:cNvPr>
          <p:cNvCxnSpPr>
            <a:cxnSpLocks/>
            <a:endCxn id="135" idx="0"/>
          </p:cNvCxnSpPr>
          <p:nvPr/>
        </p:nvCxnSpPr>
        <p:spPr bwMode="auto">
          <a:xfrm flipH="1">
            <a:off x="2188128" y="3190331"/>
            <a:ext cx="288410" cy="5727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id="{F5F65680-9B59-4153-9C1B-26ABFB07852C}"/>
              </a:ext>
            </a:extLst>
          </p:cNvPr>
          <p:cNvCxnSpPr>
            <a:cxnSpLocks/>
          </p:cNvCxnSpPr>
          <p:nvPr/>
        </p:nvCxnSpPr>
        <p:spPr bwMode="auto">
          <a:xfrm flipH="1">
            <a:off x="994350" y="3214785"/>
            <a:ext cx="275108" cy="1124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44" name="Picture 143">
            <a:extLst>
              <a:ext uri="{FF2B5EF4-FFF2-40B4-BE49-F238E27FC236}">
                <a16:creationId xmlns:a16="http://schemas.microsoft.com/office/drawing/2014/main" id="{05CA2CCD-06EC-4237-A4C0-A6B2EFCB571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12002" y="2984469"/>
            <a:ext cx="498533" cy="365872"/>
          </a:xfrm>
          <a:prstGeom prst="rect">
            <a:avLst/>
          </a:prstGeom>
        </p:spPr>
      </p:pic>
      <p:sp>
        <p:nvSpPr>
          <p:cNvPr id="147" name="Rectangle 146">
            <a:extLst>
              <a:ext uri="{FF2B5EF4-FFF2-40B4-BE49-F238E27FC236}">
                <a16:creationId xmlns:a16="http://schemas.microsoft.com/office/drawing/2014/main" id="{ED17C617-C67E-4FF7-B257-B0ABA2828A5D}"/>
              </a:ext>
            </a:extLst>
          </p:cNvPr>
          <p:cNvSpPr/>
          <p:nvPr/>
        </p:nvSpPr>
        <p:spPr>
          <a:xfrm>
            <a:off x="85035" y="3292952"/>
            <a:ext cx="146468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Azure Web App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 panose="020B0702040204020203" pitchFamily="34" charset="0"/>
              <a:ea typeface="MS PGothic" panose="020B0600070205080204" pitchFamily="34" charset="-128"/>
              <a:cs typeface="Segoe UI Semibold" panose="020B0702040204020203" pitchFamily="34" charset="0"/>
            </a:endParaRPr>
          </a:p>
        </p:txBody>
      </p:sp>
      <p:pic>
        <p:nvPicPr>
          <p:cNvPr id="148" name="Picture 12" descr="Success free icon">
            <a:extLst>
              <a:ext uri="{FF2B5EF4-FFF2-40B4-BE49-F238E27FC236}">
                <a16:creationId xmlns:a16="http://schemas.microsoft.com/office/drawing/2014/main" id="{3167968C-19E8-4E20-ADF0-CF3C89A10B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1771" y="3301431"/>
            <a:ext cx="213190" cy="213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9" name="Picture 12" descr="Success free icon">
            <a:extLst>
              <a:ext uri="{FF2B5EF4-FFF2-40B4-BE49-F238E27FC236}">
                <a16:creationId xmlns:a16="http://schemas.microsoft.com/office/drawing/2014/main" id="{0E409BA8-6111-4CEF-BA71-FFC4BA1CEB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4345" y="3307621"/>
            <a:ext cx="213190" cy="213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0" name="Picture 12" descr="Success free icon">
            <a:extLst>
              <a:ext uri="{FF2B5EF4-FFF2-40B4-BE49-F238E27FC236}">
                <a16:creationId xmlns:a16="http://schemas.microsoft.com/office/drawing/2014/main" id="{B56C064D-7D52-4F9A-9795-7CFC1FE23C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4394" y="3363893"/>
            <a:ext cx="213190" cy="213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0F94ECB2-E41F-4A20-BE73-45328B283407}"/>
              </a:ext>
            </a:extLst>
          </p:cNvPr>
          <p:cNvCxnSpPr>
            <a:stCxn id="131" idx="1"/>
          </p:cNvCxnSpPr>
          <p:nvPr/>
        </p:nvCxnSpPr>
        <p:spPr bwMode="auto">
          <a:xfrm flipH="1">
            <a:off x="2964544" y="3479672"/>
            <a:ext cx="1" cy="611065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8B0E1F2F-5598-43D5-87D6-45833EE0F897}"/>
              </a:ext>
            </a:extLst>
          </p:cNvPr>
          <p:cNvCxnSpPr/>
          <p:nvPr/>
        </p:nvCxnSpPr>
        <p:spPr bwMode="auto">
          <a:xfrm flipH="1">
            <a:off x="4395717" y="3486028"/>
            <a:ext cx="1" cy="611065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54" name="Straight Arrow Connector 153">
            <a:extLst>
              <a:ext uri="{FF2B5EF4-FFF2-40B4-BE49-F238E27FC236}">
                <a16:creationId xmlns:a16="http://schemas.microsoft.com/office/drawing/2014/main" id="{B5550253-CDA4-40A1-B5A3-871031A4977C}"/>
              </a:ext>
            </a:extLst>
          </p:cNvPr>
          <p:cNvCxnSpPr>
            <a:cxnSpLocks/>
          </p:cNvCxnSpPr>
          <p:nvPr/>
        </p:nvCxnSpPr>
        <p:spPr bwMode="auto">
          <a:xfrm>
            <a:off x="8526555" y="3372225"/>
            <a:ext cx="13764" cy="71851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55" name="Straight Arrow Connector 154">
            <a:extLst>
              <a:ext uri="{FF2B5EF4-FFF2-40B4-BE49-F238E27FC236}">
                <a16:creationId xmlns:a16="http://schemas.microsoft.com/office/drawing/2014/main" id="{AB967B77-2DBF-4524-B83E-4F42865B0F56}"/>
              </a:ext>
            </a:extLst>
          </p:cNvPr>
          <p:cNvCxnSpPr>
            <a:cxnSpLocks/>
          </p:cNvCxnSpPr>
          <p:nvPr/>
        </p:nvCxnSpPr>
        <p:spPr bwMode="auto">
          <a:xfrm flipH="1">
            <a:off x="11332961" y="3380845"/>
            <a:ext cx="1" cy="70989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56" name="Picture 12" descr="Success free icon">
            <a:extLst>
              <a:ext uri="{FF2B5EF4-FFF2-40B4-BE49-F238E27FC236}">
                <a16:creationId xmlns:a16="http://schemas.microsoft.com/office/drawing/2014/main" id="{7DB57CB9-A18F-43CB-922F-DB6457CF67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4357" y="2853921"/>
            <a:ext cx="213190" cy="213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7" name="Picture 14" descr="Error free icon">
            <a:extLst>
              <a:ext uri="{FF2B5EF4-FFF2-40B4-BE49-F238E27FC236}">
                <a16:creationId xmlns:a16="http://schemas.microsoft.com/office/drawing/2014/main" id="{493F8742-5DAD-4934-8AEA-214C6BF4E9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3694" y="3523784"/>
            <a:ext cx="211119" cy="211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8" name="Picture 14" descr="Error free icon">
            <a:extLst>
              <a:ext uri="{FF2B5EF4-FFF2-40B4-BE49-F238E27FC236}">
                <a16:creationId xmlns:a16="http://schemas.microsoft.com/office/drawing/2014/main" id="{146BC879-D38D-4876-9E2C-49295E57F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6628" y="3628364"/>
            <a:ext cx="211119" cy="211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9" name="Picture 14" descr="Error free icon">
            <a:extLst>
              <a:ext uri="{FF2B5EF4-FFF2-40B4-BE49-F238E27FC236}">
                <a16:creationId xmlns:a16="http://schemas.microsoft.com/office/drawing/2014/main" id="{C8828E68-2CBA-42A9-B9EB-C981E161B8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8730" y="3540935"/>
            <a:ext cx="211119" cy="211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0" name="Picture 14" descr="Error free icon">
            <a:extLst>
              <a:ext uri="{FF2B5EF4-FFF2-40B4-BE49-F238E27FC236}">
                <a16:creationId xmlns:a16="http://schemas.microsoft.com/office/drawing/2014/main" id="{E97320EA-B7AA-4E19-802E-6CC9661E0C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6167" y="3665920"/>
            <a:ext cx="211119" cy="211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79C46F76-63B3-4F12-AA77-7F181F082423}"/>
              </a:ext>
            </a:extLst>
          </p:cNvPr>
          <p:cNvCxnSpPr/>
          <p:nvPr/>
        </p:nvCxnSpPr>
        <p:spPr bwMode="auto">
          <a:xfrm>
            <a:off x="2956608" y="4090737"/>
            <a:ext cx="9080020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51" name="Straight Arrow Connector 150">
            <a:extLst>
              <a:ext uri="{FF2B5EF4-FFF2-40B4-BE49-F238E27FC236}">
                <a16:creationId xmlns:a16="http://schemas.microsoft.com/office/drawing/2014/main" id="{FDF5FDED-5750-4D74-9F3F-51AADCEA660B}"/>
              </a:ext>
            </a:extLst>
          </p:cNvPr>
          <p:cNvCxnSpPr/>
          <p:nvPr/>
        </p:nvCxnSpPr>
        <p:spPr bwMode="auto">
          <a:xfrm flipV="1">
            <a:off x="12036628" y="1240879"/>
            <a:ext cx="0" cy="2849857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08A6B905-DF35-4A35-8A05-33775A39BD88}"/>
              </a:ext>
            </a:extLst>
          </p:cNvPr>
          <p:cNvCxnSpPr/>
          <p:nvPr/>
        </p:nvCxnSpPr>
        <p:spPr bwMode="auto">
          <a:xfrm flipH="1" flipV="1">
            <a:off x="10609879" y="1240879"/>
            <a:ext cx="1426749" cy="2026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65" name="TextBox 164">
            <a:extLst>
              <a:ext uri="{FF2B5EF4-FFF2-40B4-BE49-F238E27FC236}">
                <a16:creationId xmlns:a16="http://schemas.microsoft.com/office/drawing/2014/main" id="{B551C110-73DE-4300-A268-AA4E32BAFE7B}"/>
              </a:ext>
            </a:extLst>
          </p:cNvPr>
          <p:cNvSpPr txBox="1"/>
          <p:nvPr/>
        </p:nvSpPr>
        <p:spPr>
          <a:xfrm>
            <a:off x="605367" y="4644189"/>
            <a:ext cx="9080019" cy="93871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/>
              <a:t>1 – Developer pushes the code in Feature Branch</a:t>
            </a:r>
          </a:p>
          <a:p>
            <a:r>
              <a:rPr lang="en-US" sz="1100" dirty="0"/>
              <a:t>2 – Developer raise a pull request to merge the code to Staging/Prod Branch</a:t>
            </a:r>
          </a:p>
          <a:p>
            <a:r>
              <a:rPr lang="en-US" sz="1100" dirty="0"/>
              <a:t>3 – If the review fails, developer need to re-check the code</a:t>
            </a:r>
          </a:p>
          <a:p>
            <a:r>
              <a:rPr lang="en-US" sz="1100" dirty="0"/>
              <a:t>4 – If the build or Staging validation Or SonarQube fails an email notification will send to respective development team</a:t>
            </a:r>
          </a:p>
          <a:p>
            <a:r>
              <a:rPr lang="en-US" sz="1100" dirty="0"/>
              <a:t>        -  Build/PR/SonarQube/Staging Pass	          -  Build/PR/SonarQube/Staging Fails </a:t>
            </a:r>
          </a:p>
        </p:txBody>
      </p:sp>
      <p:pic>
        <p:nvPicPr>
          <p:cNvPr id="2066" name="Picture 18" descr="Four free icon">
            <a:extLst>
              <a:ext uri="{FF2B5EF4-FFF2-40B4-BE49-F238E27FC236}">
                <a16:creationId xmlns:a16="http://schemas.microsoft.com/office/drawing/2014/main" id="{74D3C8C6-A3F9-4663-8F7B-C393DB6F96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5597" y="974070"/>
            <a:ext cx="235441" cy="235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" name="Picture 12" descr="Success free icon">
            <a:extLst>
              <a:ext uri="{FF2B5EF4-FFF2-40B4-BE49-F238E27FC236}">
                <a16:creationId xmlns:a16="http://schemas.microsoft.com/office/drawing/2014/main" id="{0C6F622A-5E74-426E-B627-078BCB331F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940" y="5364658"/>
            <a:ext cx="213190" cy="213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" name="Picture 14" descr="Error free icon">
            <a:extLst>
              <a:ext uri="{FF2B5EF4-FFF2-40B4-BE49-F238E27FC236}">
                <a16:creationId xmlns:a16="http://schemas.microsoft.com/office/drawing/2014/main" id="{D70A7F9E-6C73-47CF-986C-739C503CA3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4593" y="5359864"/>
            <a:ext cx="211119" cy="211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" name="Picture 139">
            <a:extLst>
              <a:ext uri="{FF2B5EF4-FFF2-40B4-BE49-F238E27FC236}">
                <a16:creationId xmlns:a16="http://schemas.microsoft.com/office/drawing/2014/main" id="{F1A7025C-BA82-454A-8B12-F6BE95E023E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926805" y="1609292"/>
            <a:ext cx="700292" cy="315371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9CE526BF-8964-4465-AEA0-47FE3FBB1A0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310581" y="2916845"/>
            <a:ext cx="700292" cy="31537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7B9CEA5-D09B-4EEE-B89E-1AA16901EF02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311940" y="1648428"/>
            <a:ext cx="336439" cy="325792"/>
          </a:xfrm>
          <a:prstGeom prst="rect">
            <a:avLst/>
          </a:prstGeom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4751D780-6D8E-4AEE-9352-408E47F3C219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193642" y="2920128"/>
            <a:ext cx="336439" cy="325792"/>
          </a:xfrm>
          <a:prstGeom prst="rect">
            <a:avLst/>
          </a:prstGeom>
        </p:spPr>
      </p:pic>
      <p:sp>
        <p:nvSpPr>
          <p:cNvPr id="145" name="Rectangle 144">
            <a:extLst>
              <a:ext uri="{FF2B5EF4-FFF2-40B4-BE49-F238E27FC236}">
                <a16:creationId xmlns:a16="http://schemas.microsoft.com/office/drawing/2014/main" id="{CA42DE60-4BA6-4A5B-9D6F-C08AED7B9317}"/>
              </a:ext>
            </a:extLst>
          </p:cNvPr>
          <p:cNvSpPr/>
          <p:nvPr/>
        </p:nvSpPr>
        <p:spPr>
          <a:xfrm>
            <a:off x="3913641" y="3272981"/>
            <a:ext cx="147085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Azure Pipeline </a:t>
            </a:r>
          </a:p>
        </p:txBody>
      </p:sp>
    </p:spTree>
    <p:extLst>
      <p:ext uri="{BB962C8B-B14F-4D97-AF65-F5344CB8AC3E}">
        <p14:creationId xmlns:p14="http://schemas.microsoft.com/office/powerpoint/2010/main" val="31717990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F5E190-C486-47EA-887C-FF0305C8A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73ED1BE5-3ACF-49E5-BB39-A7DAD182580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20012338"/>
              </p:ext>
            </p:extLst>
          </p:nvPr>
        </p:nvGraphicFramePr>
        <p:xfrm>
          <a:off x="604838" y="1712913"/>
          <a:ext cx="10982325" cy="4379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8993B7-AAA8-4202-A450-E97CD6A0F2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FB539A-DDF3-468E-8625-8E348CFA53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F8E93A-FFB9-4AD9-A182-9989529C9C8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23028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Title 1">
            <a:extLst>
              <a:ext uri="{FF2B5EF4-FFF2-40B4-BE49-F238E27FC236}">
                <a16:creationId xmlns:a16="http://schemas.microsoft.com/office/drawing/2014/main" id="{A9F9D1EF-B24E-47C5-A6E2-826D56B04E1D}"/>
              </a:ext>
            </a:extLst>
          </p:cNvPr>
          <p:cNvSpPr txBox="1">
            <a:spLocks/>
          </p:cNvSpPr>
          <p:nvPr/>
        </p:nvSpPr>
        <p:spPr bwMode="auto">
          <a:xfrm>
            <a:off x="367157" y="75115"/>
            <a:ext cx="5935017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68514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06515" algn="l"/>
              </a:tabLst>
              <a:defRPr sz="2000" b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6851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06507" algn="l"/>
              </a:tabLst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Azure DevOps Workflow</a:t>
            </a:r>
          </a:p>
          <a:p>
            <a:pPr marL="0" marR="0" lvl="0" indent="0" algn="l" defTabSz="6851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06507" algn="l"/>
              </a:tabLst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EEEC9419-83DA-4059-97CC-C5245264A0A1}"/>
              </a:ext>
            </a:extLst>
          </p:cNvPr>
          <p:cNvGrpSpPr/>
          <p:nvPr/>
        </p:nvGrpSpPr>
        <p:grpSpPr>
          <a:xfrm>
            <a:off x="2875992" y="922849"/>
            <a:ext cx="1227831" cy="950908"/>
            <a:chOff x="775169" y="2514863"/>
            <a:chExt cx="1331927" cy="812154"/>
          </a:xfrm>
        </p:grpSpPr>
        <p:sp>
          <p:nvSpPr>
            <p:cNvPr id="95" name="Rectangle: Rounded Corners 283">
              <a:extLst>
                <a:ext uri="{FF2B5EF4-FFF2-40B4-BE49-F238E27FC236}">
                  <a16:creationId xmlns:a16="http://schemas.microsoft.com/office/drawing/2014/main" id="{9E682CB4-799D-4722-8B0B-D4759463C1B9}"/>
                </a:ext>
              </a:extLst>
            </p:cNvPr>
            <p:cNvSpPr/>
            <p:nvPr/>
          </p:nvSpPr>
          <p:spPr bwMode="auto">
            <a:xfrm>
              <a:off x="775169" y="2514863"/>
              <a:ext cx="1331927" cy="792656"/>
            </a:xfrm>
            <a:prstGeom prst="roundRect">
              <a:avLst/>
            </a:prstGeom>
            <a:noFill/>
            <a:ln w="25400">
              <a:solidFill>
                <a:srgbClr val="0070C0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34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F11BCAD7-CB41-4A63-82A8-DB3929A5967F}"/>
                </a:ext>
              </a:extLst>
            </p:cNvPr>
            <p:cNvSpPr/>
            <p:nvPr/>
          </p:nvSpPr>
          <p:spPr>
            <a:xfrm>
              <a:off x="1179334" y="3011577"/>
              <a:ext cx="681928" cy="3154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MS PGothic" panose="020B0600070205080204" pitchFamily="34" charset="-128"/>
                  <a:cs typeface="Segoe UI Semibold" panose="020B0702040204020203" pitchFamily="34" charset="0"/>
                </a:rPr>
                <a:t>Feature Branch</a:t>
              </a:r>
            </a:p>
          </p:txBody>
        </p:sp>
      </p:grpSp>
      <p:sp>
        <p:nvSpPr>
          <p:cNvPr id="120" name="Rectangle: Rounded Corners 283">
            <a:extLst>
              <a:ext uri="{FF2B5EF4-FFF2-40B4-BE49-F238E27FC236}">
                <a16:creationId xmlns:a16="http://schemas.microsoft.com/office/drawing/2014/main" id="{7A468331-3EF1-4E0B-904A-DD5A2AF55C21}"/>
              </a:ext>
            </a:extLst>
          </p:cNvPr>
          <p:cNvSpPr/>
          <p:nvPr/>
        </p:nvSpPr>
        <p:spPr bwMode="auto">
          <a:xfrm>
            <a:off x="409384" y="958429"/>
            <a:ext cx="1227831" cy="905598"/>
          </a:xfrm>
          <a:prstGeom prst="roundRect">
            <a:avLst/>
          </a:prstGeom>
          <a:noFill/>
          <a:ln w="25400">
            <a:solidFill>
              <a:srgbClr val="0070C0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3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Calibr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9AC81364-4491-4F71-95F0-A44590AD8BDC}"/>
              </a:ext>
            </a:extLst>
          </p:cNvPr>
          <p:cNvSpPr/>
          <p:nvPr/>
        </p:nvSpPr>
        <p:spPr bwMode="auto">
          <a:xfrm>
            <a:off x="440967" y="470262"/>
            <a:ext cx="1808669" cy="45719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7315A290-0EC4-467E-896A-A6D9A880E66F}"/>
              </a:ext>
            </a:extLst>
          </p:cNvPr>
          <p:cNvGrpSpPr/>
          <p:nvPr/>
        </p:nvGrpSpPr>
        <p:grpSpPr>
          <a:xfrm>
            <a:off x="779450" y="1049777"/>
            <a:ext cx="557439" cy="737688"/>
            <a:chOff x="9036173" y="5537558"/>
            <a:chExt cx="914400" cy="1271732"/>
          </a:xfrm>
        </p:grpSpPr>
        <p:pic>
          <p:nvPicPr>
            <p:cNvPr id="78" name="Graphic 77" descr="User">
              <a:extLst>
                <a:ext uri="{FF2B5EF4-FFF2-40B4-BE49-F238E27FC236}">
                  <a16:creationId xmlns:a16="http://schemas.microsoft.com/office/drawing/2014/main" id="{7EDC9418-98D7-4BC5-9F71-85CC277BCCF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036173" y="5537558"/>
              <a:ext cx="914400" cy="914400"/>
            </a:xfrm>
            <a:prstGeom prst="rect">
              <a:avLst/>
            </a:prstGeom>
          </p:spPr>
        </p:pic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11B34997-EC34-45ED-AA2A-02D26B6B037F}"/>
                </a:ext>
              </a:extLst>
            </p:cNvPr>
            <p:cNvSpPr txBox="1"/>
            <p:nvPr/>
          </p:nvSpPr>
          <p:spPr>
            <a:xfrm>
              <a:off x="9036173" y="6411349"/>
              <a:ext cx="303025" cy="397941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 defTabSz="950973">
                <a:defRPr sz="900" kern="0">
                  <a:solidFill>
                    <a:schemeClr val="tx1"/>
                  </a:solidFill>
                  <a:latin typeface="Segoe UI Semibold" panose="020B0702040204020203" pitchFamily="34" charset="0"/>
                  <a:ea typeface="MS PGothic" panose="020B0600070205080204" pitchFamily="34" charset="-128"/>
                  <a:cs typeface="Segoe UI Semibold" panose="020B0702040204020203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algn="l" defTabSz="9509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endParaRPr>
            </a:p>
          </p:txBody>
        </p:sp>
      </p:grpSp>
      <p:sp>
        <p:nvSpPr>
          <p:cNvPr id="80" name="Rectangle 79">
            <a:extLst>
              <a:ext uri="{FF2B5EF4-FFF2-40B4-BE49-F238E27FC236}">
                <a16:creationId xmlns:a16="http://schemas.microsoft.com/office/drawing/2014/main" id="{7DCBF7CD-A6AA-4A42-951E-463DFAA0B5DC}"/>
              </a:ext>
            </a:extLst>
          </p:cNvPr>
          <p:cNvSpPr/>
          <p:nvPr/>
        </p:nvSpPr>
        <p:spPr>
          <a:xfrm>
            <a:off x="703314" y="1578093"/>
            <a:ext cx="73953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   User</a:t>
            </a:r>
          </a:p>
        </p:txBody>
      </p:sp>
      <p:pic>
        <p:nvPicPr>
          <p:cNvPr id="82" name="Picture 81" descr="Bitbucket Pricing Hike Increases Cost Per User by 100% – WP Tavern">
            <a:extLst>
              <a:ext uri="{FF2B5EF4-FFF2-40B4-BE49-F238E27FC236}">
                <a16:creationId xmlns:a16="http://schemas.microsoft.com/office/drawing/2014/main" id="{DB51466B-F9D2-4310-9A33-2DFA85A818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031" y="963209"/>
            <a:ext cx="1135488" cy="283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A885EA3D-E65F-4B65-A04C-B5409E22836B}"/>
              </a:ext>
            </a:extLst>
          </p:cNvPr>
          <p:cNvSpPr txBox="1"/>
          <p:nvPr/>
        </p:nvSpPr>
        <p:spPr>
          <a:xfrm>
            <a:off x="1544968" y="1503818"/>
            <a:ext cx="1253794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Developers pushes the code in bit bucket in feature branch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042E21B7-73EA-4A86-BE4D-A08904E50FB5}"/>
              </a:ext>
            </a:extLst>
          </p:cNvPr>
          <p:cNvSpPr txBox="1"/>
          <p:nvPr/>
        </p:nvSpPr>
        <p:spPr>
          <a:xfrm>
            <a:off x="1544968" y="911128"/>
            <a:ext cx="1253794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User will create a Feature Branch . 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18B8A21E-2C71-43AF-89D0-9B630F58B212}"/>
              </a:ext>
            </a:extLst>
          </p:cNvPr>
          <p:cNvCxnSpPr>
            <a:stCxn id="95" idx="3"/>
          </p:cNvCxnSpPr>
          <p:nvPr/>
        </p:nvCxnSpPr>
        <p:spPr bwMode="auto">
          <a:xfrm flipV="1">
            <a:off x="4103823" y="1386888"/>
            <a:ext cx="706829" cy="1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57E962F5-6679-427B-B8CE-6F727CD8255A}"/>
              </a:ext>
            </a:extLst>
          </p:cNvPr>
          <p:cNvCxnSpPr>
            <a:cxnSpLocks/>
            <a:stCxn id="120" idx="3"/>
          </p:cNvCxnSpPr>
          <p:nvPr/>
        </p:nvCxnSpPr>
        <p:spPr bwMode="auto">
          <a:xfrm>
            <a:off x="1637215" y="1411228"/>
            <a:ext cx="1163595" cy="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2" name="Rectangle: Rounded Corners 283">
            <a:extLst>
              <a:ext uri="{FF2B5EF4-FFF2-40B4-BE49-F238E27FC236}">
                <a16:creationId xmlns:a16="http://schemas.microsoft.com/office/drawing/2014/main" id="{8039BFD7-6B57-468D-B9D3-90A4A809C81C}"/>
              </a:ext>
            </a:extLst>
          </p:cNvPr>
          <p:cNvSpPr/>
          <p:nvPr/>
        </p:nvSpPr>
        <p:spPr bwMode="auto">
          <a:xfrm>
            <a:off x="4810652" y="944972"/>
            <a:ext cx="1227831" cy="905598"/>
          </a:xfrm>
          <a:prstGeom prst="roundRect">
            <a:avLst/>
          </a:prstGeom>
          <a:noFill/>
          <a:ln w="25400">
            <a:solidFill>
              <a:srgbClr val="0070C0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3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Calibr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7F6BC4F-1015-45D0-BA3C-4DCFB61791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7884" y="1079111"/>
            <a:ext cx="1220599" cy="615553"/>
          </a:xfrm>
          <a:prstGeom prst="rect">
            <a:avLst/>
          </a:prstGeom>
        </p:spPr>
      </p:pic>
      <p:sp>
        <p:nvSpPr>
          <p:cNvPr id="113" name="TextBox 112">
            <a:extLst>
              <a:ext uri="{FF2B5EF4-FFF2-40B4-BE49-F238E27FC236}">
                <a16:creationId xmlns:a16="http://schemas.microsoft.com/office/drawing/2014/main" id="{34762B81-D2E7-4F14-8DEE-BCE70A6D3D4A}"/>
              </a:ext>
            </a:extLst>
          </p:cNvPr>
          <p:cNvSpPr txBox="1"/>
          <p:nvPr/>
        </p:nvSpPr>
        <p:spPr>
          <a:xfrm>
            <a:off x="4817884" y="673411"/>
            <a:ext cx="1253794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PR to review the code for approval</a:t>
            </a:r>
          </a:p>
        </p:txBody>
      </p:sp>
      <p:sp>
        <p:nvSpPr>
          <p:cNvPr id="114" name="Rectangle: Rounded Corners 283">
            <a:extLst>
              <a:ext uri="{FF2B5EF4-FFF2-40B4-BE49-F238E27FC236}">
                <a16:creationId xmlns:a16="http://schemas.microsoft.com/office/drawing/2014/main" id="{BBA4002C-DF71-4DEF-B557-4CB950E33D38}"/>
              </a:ext>
            </a:extLst>
          </p:cNvPr>
          <p:cNvSpPr/>
          <p:nvPr/>
        </p:nvSpPr>
        <p:spPr bwMode="auto">
          <a:xfrm>
            <a:off x="6677552" y="913914"/>
            <a:ext cx="1227831" cy="905598"/>
          </a:xfrm>
          <a:prstGeom prst="roundRect">
            <a:avLst/>
          </a:prstGeom>
          <a:noFill/>
          <a:ln w="25400">
            <a:solidFill>
              <a:srgbClr val="0070C0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3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Calibr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B6D5CB79-7F1A-41C6-9AEF-10AEDA5324BC}"/>
              </a:ext>
            </a:extLst>
          </p:cNvPr>
          <p:cNvCxnSpPr/>
          <p:nvPr/>
        </p:nvCxnSpPr>
        <p:spPr bwMode="auto">
          <a:xfrm flipV="1">
            <a:off x="6045715" y="1332787"/>
            <a:ext cx="706829" cy="1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972090C0-AFA9-4259-BEC3-545E25411C0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59777" y="944990"/>
            <a:ext cx="1130494" cy="803482"/>
          </a:xfrm>
          <a:prstGeom prst="rect">
            <a:avLst/>
          </a:prstGeom>
        </p:spPr>
      </p:pic>
      <p:sp>
        <p:nvSpPr>
          <p:cNvPr id="126" name="TextBox 125">
            <a:extLst>
              <a:ext uri="{FF2B5EF4-FFF2-40B4-BE49-F238E27FC236}">
                <a16:creationId xmlns:a16="http://schemas.microsoft.com/office/drawing/2014/main" id="{55D41D6C-3127-4183-A60B-69F7177F9AB1}"/>
              </a:ext>
            </a:extLst>
          </p:cNvPr>
          <p:cNvSpPr txBox="1"/>
          <p:nvPr/>
        </p:nvSpPr>
        <p:spPr>
          <a:xfrm>
            <a:off x="6539795" y="427190"/>
            <a:ext cx="1253794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Merge the feature branch changes to main/master branch</a:t>
            </a: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BE7F85AD-A426-4424-9426-4814F649BE10}"/>
              </a:ext>
            </a:extLst>
          </p:cNvPr>
          <p:cNvGrpSpPr/>
          <p:nvPr/>
        </p:nvGrpSpPr>
        <p:grpSpPr>
          <a:xfrm>
            <a:off x="8504811" y="947188"/>
            <a:ext cx="1227831" cy="928078"/>
            <a:chOff x="775169" y="2514863"/>
            <a:chExt cx="1331927" cy="792656"/>
          </a:xfrm>
        </p:grpSpPr>
        <p:sp>
          <p:nvSpPr>
            <p:cNvPr id="130" name="Rectangle: Rounded Corners 283">
              <a:extLst>
                <a:ext uri="{FF2B5EF4-FFF2-40B4-BE49-F238E27FC236}">
                  <a16:creationId xmlns:a16="http://schemas.microsoft.com/office/drawing/2014/main" id="{39076904-AA89-49A2-8BDC-251FCD0489DD}"/>
                </a:ext>
              </a:extLst>
            </p:cNvPr>
            <p:cNvSpPr/>
            <p:nvPr/>
          </p:nvSpPr>
          <p:spPr bwMode="auto">
            <a:xfrm>
              <a:off x="775169" y="2514863"/>
              <a:ext cx="1331927" cy="792656"/>
            </a:xfrm>
            <a:prstGeom prst="roundRect">
              <a:avLst/>
            </a:prstGeom>
            <a:noFill/>
            <a:ln w="25400">
              <a:solidFill>
                <a:srgbClr val="0070C0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34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4A25FC5E-DDB8-472C-AD31-CF1B388A00CD}"/>
                </a:ext>
              </a:extLst>
            </p:cNvPr>
            <p:cNvSpPr/>
            <p:nvPr/>
          </p:nvSpPr>
          <p:spPr>
            <a:xfrm>
              <a:off x="1188598" y="2965863"/>
              <a:ext cx="681928" cy="3154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MS PGothic" panose="020B0600070205080204" pitchFamily="34" charset="-128"/>
                  <a:cs typeface="Segoe UI Semibold" panose="020B0702040204020203" pitchFamily="34" charset="0"/>
                </a:rPr>
                <a:t>Staging Branch</a:t>
              </a:r>
            </a:p>
          </p:txBody>
        </p:sp>
      </p:grp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62AD544C-8546-43C5-9A42-C6E715C6D8B2}"/>
              </a:ext>
            </a:extLst>
          </p:cNvPr>
          <p:cNvCxnSpPr/>
          <p:nvPr/>
        </p:nvCxnSpPr>
        <p:spPr bwMode="auto">
          <a:xfrm flipV="1">
            <a:off x="7856354" y="1386887"/>
            <a:ext cx="706829" cy="1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149" name="Picture 148" descr="Bitbucket Pricing Hike Increases Cost Per User by 100% – WP Tavern">
            <a:extLst>
              <a:ext uri="{FF2B5EF4-FFF2-40B4-BE49-F238E27FC236}">
                <a16:creationId xmlns:a16="http://schemas.microsoft.com/office/drawing/2014/main" id="{0371762C-4F7B-4260-9C2C-B8C0F6F7EB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5706" y="958114"/>
            <a:ext cx="1135488" cy="283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7" name="TextBox 156">
            <a:extLst>
              <a:ext uri="{FF2B5EF4-FFF2-40B4-BE49-F238E27FC236}">
                <a16:creationId xmlns:a16="http://schemas.microsoft.com/office/drawing/2014/main" id="{818EBE43-DC83-42F7-8AB3-D5462A683FF6}"/>
              </a:ext>
            </a:extLst>
          </p:cNvPr>
          <p:cNvSpPr txBox="1"/>
          <p:nvPr/>
        </p:nvSpPr>
        <p:spPr>
          <a:xfrm>
            <a:off x="8493553" y="470262"/>
            <a:ext cx="1253794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Successful merged the code in staging branch</a:t>
            </a:r>
          </a:p>
        </p:txBody>
      </p: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DEF3E6CA-DA77-4145-84D4-0DAC8B2718C1}"/>
              </a:ext>
            </a:extLst>
          </p:cNvPr>
          <p:cNvCxnSpPr>
            <a:cxnSpLocks/>
          </p:cNvCxnSpPr>
          <p:nvPr/>
        </p:nvCxnSpPr>
        <p:spPr bwMode="auto">
          <a:xfrm flipV="1">
            <a:off x="9707697" y="1397771"/>
            <a:ext cx="706829" cy="1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358EF348-0EF6-4852-B7D4-E2C2808A6AEE}"/>
              </a:ext>
            </a:extLst>
          </p:cNvPr>
          <p:cNvGrpSpPr/>
          <p:nvPr/>
        </p:nvGrpSpPr>
        <p:grpSpPr>
          <a:xfrm>
            <a:off x="10348240" y="937251"/>
            <a:ext cx="1227831" cy="949721"/>
            <a:chOff x="775169" y="2514863"/>
            <a:chExt cx="1331927" cy="811141"/>
          </a:xfrm>
        </p:grpSpPr>
        <p:sp>
          <p:nvSpPr>
            <p:cNvPr id="161" name="Rectangle: Rounded Corners 283">
              <a:extLst>
                <a:ext uri="{FF2B5EF4-FFF2-40B4-BE49-F238E27FC236}">
                  <a16:creationId xmlns:a16="http://schemas.microsoft.com/office/drawing/2014/main" id="{FEB11ADA-BE9B-4DE2-B23D-61B890A4215E}"/>
                </a:ext>
              </a:extLst>
            </p:cNvPr>
            <p:cNvSpPr/>
            <p:nvPr/>
          </p:nvSpPr>
          <p:spPr bwMode="auto">
            <a:xfrm>
              <a:off x="775169" y="2514863"/>
              <a:ext cx="1331927" cy="792656"/>
            </a:xfrm>
            <a:prstGeom prst="roundRect">
              <a:avLst/>
            </a:prstGeom>
            <a:noFill/>
            <a:ln w="25400">
              <a:solidFill>
                <a:srgbClr val="0070C0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34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2B42A618-CC2C-4A35-B51A-F680DC3B654F}"/>
                </a:ext>
              </a:extLst>
            </p:cNvPr>
            <p:cNvSpPr/>
            <p:nvPr/>
          </p:nvSpPr>
          <p:spPr>
            <a:xfrm>
              <a:off x="1154338" y="3010564"/>
              <a:ext cx="681928" cy="3154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MS PGothic" panose="020B0600070205080204" pitchFamily="34" charset="-128"/>
                  <a:cs typeface="Segoe UI Semibold" panose="020B0702040204020203" pitchFamily="34" charset="0"/>
                </a:rPr>
                <a:t>Azure Repo</a:t>
              </a:r>
            </a:p>
          </p:txBody>
        </p:sp>
      </p:grpSp>
      <p:sp>
        <p:nvSpPr>
          <p:cNvPr id="168" name="TextBox 167">
            <a:extLst>
              <a:ext uri="{FF2B5EF4-FFF2-40B4-BE49-F238E27FC236}">
                <a16:creationId xmlns:a16="http://schemas.microsoft.com/office/drawing/2014/main" id="{BAF7B48A-AA89-4184-8089-CCEA928EAFC5}"/>
              </a:ext>
            </a:extLst>
          </p:cNvPr>
          <p:cNvSpPr txBox="1"/>
          <p:nvPr/>
        </p:nvSpPr>
        <p:spPr>
          <a:xfrm>
            <a:off x="10321914" y="724942"/>
            <a:ext cx="1253794" cy="21544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Merged to Azure Repo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4FDEF607-93E1-49AB-9E55-4FE9234063CF}"/>
              </a:ext>
            </a:extLst>
          </p:cNvPr>
          <p:cNvCxnSpPr>
            <a:stCxn id="161" idx="2"/>
          </p:cNvCxnSpPr>
          <p:nvPr/>
        </p:nvCxnSpPr>
        <p:spPr bwMode="auto">
          <a:xfrm flipH="1">
            <a:off x="10962154" y="1865329"/>
            <a:ext cx="2" cy="645859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76531BB0-DE1A-418E-83CE-80524C32977A}"/>
              </a:ext>
            </a:extLst>
          </p:cNvPr>
          <p:cNvGrpSpPr/>
          <p:nvPr/>
        </p:nvGrpSpPr>
        <p:grpSpPr>
          <a:xfrm>
            <a:off x="10417548" y="2511188"/>
            <a:ext cx="1227831" cy="928078"/>
            <a:chOff x="775169" y="2514863"/>
            <a:chExt cx="1331927" cy="792656"/>
          </a:xfrm>
        </p:grpSpPr>
        <p:sp>
          <p:nvSpPr>
            <p:cNvPr id="175" name="Rectangle: Rounded Corners 283">
              <a:extLst>
                <a:ext uri="{FF2B5EF4-FFF2-40B4-BE49-F238E27FC236}">
                  <a16:creationId xmlns:a16="http://schemas.microsoft.com/office/drawing/2014/main" id="{FB8163AA-053A-4C13-B0B0-41FFFFAE2FA8}"/>
                </a:ext>
              </a:extLst>
            </p:cNvPr>
            <p:cNvSpPr/>
            <p:nvPr/>
          </p:nvSpPr>
          <p:spPr bwMode="auto">
            <a:xfrm>
              <a:off x="775169" y="2514863"/>
              <a:ext cx="1331927" cy="792656"/>
            </a:xfrm>
            <a:prstGeom prst="roundRect">
              <a:avLst/>
            </a:prstGeom>
            <a:noFill/>
            <a:ln w="25400">
              <a:solidFill>
                <a:srgbClr val="0070C0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34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73C9B02D-2A9F-411D-8584-7F7FCD12F336}"/>
                </a:ext>
              </a:extLst>
            </p:cNvPr>
            <p:cNvSpPr/>
            <p:nvPr/>
          </p:nvSpPr>
          <p:spPr>
            <a:xfrm>
              <a:off x="1043186" y="2984835"/>
              <a:ext cx="988331" cy="1971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MS PGothic" panose="020B0600070205080204" pitchFamily="34" charset="-128"/>
                  <a:cs typeface="Segoe UI Semibold" panose="020B0702040204020203" pitchFamily="34" charset="0"/>
                </a:rPr>
                <a:t>Build Pipeline</a:t>
              </a:r>
            </a:p>
          </p:txBody>
        </p:sp>
      </p:grpSp>
      <p:sp>
        <p:nvSpPr>
          <p:cNvPr id="177" name="TextBox 176">
            <a:extLst>
              <a:ext uri="{FF2B5EF4-FFF2-40B4-BE49-F238E27FC236}">
                <a16:creationId xmlns:a16="http://schemas.microsoft.com/office/drawing/2014/main" id="{79790710-5DF3-4DA9-9DCC-F7A925AFB2D0}"/>
              </a:ext>
            </a:extLst>
          </p:cNvPr>
          <p:cNvSpPr txBox="1"/>
          <p:nvPr/>
        </p:nvSpPr>
        <p:spPr>
          <a:xfrm>
            <a:off x="8522724" y="2098932"/>
            <a:ext cx="1253794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Artifact will push the code in Azure . 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6B1B3795-754F-41FF-A514-1E178A20CAE6}"/>
              </a:ext>
            </a:extLst>
          </p:cNvPr>
          <p:cNvCxnSpPr>
            <a:cxnSpLocks/>
            <a:stCxn id="175" idx="1"/>
            <a:endCxn id="179" idx="3"/>
          </p:cNvCxnSpPr>
          <p:nvPr/>
        </p:nvCxnSpPr>
        <p:spPr bwMode="auto">
          <a:xfrm flipH="1">
            <a:off x="9763537" y="2975227"/>
            <a:ext cx="654011" cy="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7BBBF411-CB2B-4160-A9BB-8C711BFFF1D6}"/>
              </a:ext>
            </a:extLst>
          </p:cNvPr>
          <p:cNvGrpSpPr/>
          <p:nvPr/>
        </p:nvGrpSpPr>
        <p:grpSpPr>
          <a:xfrm>
            <a:off x="8535706" y="2511186"/>
            <a:ext cx="1227831" cy="1036252"/>
            <a:chOff x="775169" y="2514863"/>
            <a:chExt cx="1331927" cy="885046"/>
          </a:xfrm>
        </p:grpSpPr>
        <p:sp>
          <p:nvSpPr>
            <p:cNvPr id="179" name="Rectangle: Rounded Corners 283">
              <a:extLst>
                <a:ext uri="{FF2B5EF4-FFF2-40B4-BE49-F238E27FC236}">
                  <a16:creationId xmlns:a16="http://schemas.microsoft.com/office/drawing/2014/main" id="{97AAEE3C-3A22-4158-91C6-77C8DF600674}"/>
                </a:ext>
              </a:extLst>
            </p:cNvPr>
            <p:cNvSpPr/>
            <p:nvPr/>
          </p:nvSpPr>
          <p:spPr bwMode="auto">
            <a:xfrm>
              <a:off x="775169" y="2514863"/>
              <a:ext cx="1331927" cy="792656"/>
            </a:xfrm>
            <a:prstGeom prst="roundRect">
              <a:avLst/>
            </a:prstGeom>
            <a:noFill/>
            <a:ln w="25400">
              <a:solidFill>
                <a:srgbClr val="0070C0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34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5A326069-14C7-404F-A79B-0B3A8510B7C3}"/>
                </a:ext>
              </a:extLst>
            </p:cNvPr>
            <p:cNvSpPr/>
            <p:nvPr/>
          </p:nvSpPr>
          <p:spPr>
            <a:xfrm>
              <a:off x="1085455" y="2966179"/>
              <a:ext cx="681928" cy="4337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MS PGothic" panose="020B0600070205080204" pitchFamily="34" charset="-128"/>
                  <a:cs typeface="Segoe UI Semibold" panose="020B0702040204020203" pitchFamily="34" charset="0"/>
                </a:rPr>
                <a:t>Azure Artifacts</a:t>
              </a:r>
            </a:p>
            <a:p>
              <a:pPr marL="0" marR="0" lvl="0" indent="0" algn="l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endParaRPr>
            </a:p>
          </p:txBody>
        </p: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6DD28B5F-6281-491F-9718-0430D346A32C}"/>
              </a:ext>
            </a:extLst>
          </p:cNvPr>
          <p:cNvSpPr txBox="1"/>
          <p:nvPr/>
        </p:nvSpPr>
        <p:spPr>
          <a:xfrm>
            <a:off x="6995217" y="3938746"/>
            <a:ext cx="1567965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Another method where we can push the artifact to app service</a:t>
            </a:r>
          </a:p>
        </p:txBody>
      </p:sp>
      <p:cxnSp>
        <p:nvCxnSpPr>
          <p:cNvPr id="182" name="Straight Arrow Connector 181">
            <a:extLst>
              <a:ext uri="{FF2B5EF4-FFF2-40B4-BE49-F238E27FC236}">
                <a16:creationId xmlns:a16="http://schemas.microsoft.com/office/drawing/2014/main" id="{8F270534-F9E6-46DF-8157-51DC9F77BC0C}"/>
              </a:ext>
            </a:extLst>
          </p:cNvPr>
          <p:cNvCxnSpPr>
            <a:cxnSpLocks/>
            <a:endCxn id="187" idx="3"/>
          </p:cNvCxnSpPr>
          <p:nvPr/>
        </p:nvCxnSpPr>
        <p:spPr bwMode="auto">
          <a:xfrm flipH="1">
            <a:off x="8004470" y="2943138"/>
            <a:ext cx="489084" cy="1012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E2EF2507-0B19-42BB-A4C6-F3547D76B58B}"/>
              </a:ext>
            </a:extLst>
          </p:cNvPr>
          <p:cNvGrpSpPr/>
          <p:nvPr/>
        </p:nvGrpSpPr>
        <p:grpSpPr>
          <a:xfrm>
            <a:off x="5086045" y="2521688"/>
            <a:ext cx="1234552" cy="928078"/>
            <a:chOff x="775169" y="2514863"/>
            <a:chExt cx="1339218" cy="792656"/>
          </a:xfrm>
        </p:grpSpPr>
        <p:sp>
          <p:nvSpPr>
            <p:cNvPr id="184" name="Rectangle: Rounded Corners 283">
              <a:extLst>
                <a:ext uri="{FF2B5EF4-FFF2-40B4-BE49-F238E27FC236}">
                  <a16:creationId xmlns:a16="http://schemas.microsoft.com/office/drawing/2014/main" id="{5D6DD43C-24CB-47B0-A13A-A350CA7E3D40}"/>
                </a:ext>
              </a:extLst>
            </p:cNvPr>
            <p:cNvSpPr/>
            <p:nvPr/>
          </p:nvSpPr>
          <p:spPr bwMode="auto">
            <a:xfrm>
              <a:off x="775169" y="2514863"/>
              <a:ext cx="1331927" cy="792656"/>
            </a:xfrm>
            <a:prstGeom prst="roundRect">
              <a:avLst/>
            </a:prstGeom>
            <a:noFill/>
            <a:ln w="25400">
              <a:solidFill>
                <a:srgbClr val="0070C0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34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C48310FF-C66A-46F7-99CD-14B6E903C2AC}"/>
                </a:ext>
              </a:extLst>
            </p:cNvPr>
            <p:cNvSpPr/>
            <p:nvPr/>
          </p:nvSpPr>
          <p:spPr>
            <a:xfrm>
              <a:off x="1137502" y="3006988"/>
              <a:ext cx="976885" cy="1971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5776F198-BE44-4914-AEC0-F45CB841F619}"/>
              </a:ext>
            </a:extLst>
          </p:cNvPr>
          <p:cNvGrpSpPr/>
          <p:nvPr/>
        </p:nvGrpSpPr>
        <p:grpSpPr>
          <a:xfrm>
            <a:off x="6776639" y="2489219"/>
            <a:ext cx="1227831" cy="1005545"/>
            <a:chOff x="775169" y="2514863"/>
            <a:chExt cx="1331927" cy="858819"/>
          </a:xfrm>
        </p:grpSpPr>
        <p:sp>
          <p:nvSpPr>
            <p:cNvPr id="187" name="Rectangle: Rounded Corners 283">
              <a:extLst>
                <a:ext uri="{FF2B5EF4-FFF2-40B4-BE49-F238E27FC236}">
                  <a16:creationId xmlns:a16="http://schemas.microsoft.com/office/drawing/2014/main" id="{089F188F-FCC7-40C4-8116-8ADF64C5C629}"/>
                </a:ext>
              </a:extLst>
            </p:cNvPr>
            <p:cNvSpPr/>
            <p:nvPr/>
          </p:nvSpPr>
          <p:spPr bwMode="auto">
            <a:xfrm>
              <a:off x="775169" y="2514863"/>
              <a:ext cx="1331927" cy="792656"/>
            </a:xfrm>
            <a:prstGeom prst="roundRect">
              <a:avLst/>
            </a:prstGeom>
            <a:noFill/>
            <a:ln w="25400">
              <a:solidFill>
                <a:srgbClr val="0070C0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34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8EFDD5B3-76EC-4067-88B8-8013FBAA763D}"/>
                </a:ext>
              </a:extLst>
            </p:cNvPr>
            <p:cNvSpPr/>
            <p:nvPr/>
          </p:nvSpPr>
          <p:spPr>
            <a:xfrm>
              <a:off x="1063665" y="3058242"/>
              <a:ext cx="808853" cy="3154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MS PGothic" panose="020B0600070205080204" pitchFamily="34" charset="-128"/>
                  <a:cs typeface="Segoe UI Semibold" panose="020B0702040204020203" pitchFamily="34" charset="0"/>
                </a:rPr>
                <a:t>Container Registry</a:t>
              </a:r>
            </a:p>
          </p:txBody>
        </p:sp>
      </p:grpSp>
      <p:cxnSp>
        <p:nvCxnSpPr>
          <p:cNvPr id="190" name="Straight Arrow Connector 189">
            <a:extLst>
              <a:ext uri="{FF2B5EF4-FFF2-40B4-BE49-F238E27FC236}">
                <a16:creationId xmlns:a16="http://schemas.microsoft.com/office/drawing/2014/main" id="{F53625F9-649F-4372-8879-FDECC7970054}"/>
              </a:ext>
            </a:extLst>
          </p:cNvPr>
          <p:cNvCxnSpPr>
            <a:cxnSpLocks/>
            <a:stCxn id="187" idx="1"/>
          </p:cNvCxnSpPr>
          <p:nvPr/>
        </p:nvCxnSpPr>
        <p:spPr bwMode="auto">
          <a:xfrm flipH="1">
            <a:off x="6266611" y="2953257"/>
            <a:ext cx="510028" cy="10266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703EA5EC-2EEC-47BF-BF8C-D32AE3E42082}"/>
              </a:ext>
            </a:extLst>
          </p:cNvPr>
          <p:cNvGrpSpPr/>
          <p:nvPr/>
        </p:nvGrpSpPr>
        <p:grpSpPr>
          <a:xfrm>
            <a:off x="3262107" y="2511187"/>
            <a:ext cx="1227831" cy="928078"/>
            <a:chOff x="775169" y="2514863"/>
            <a:chExt cx="1331927" cy="792656"/>
          </a:xfrm>
        </p:grpSpPr>
        <p:sp>
          <p:nvSpPr>
            <p:cNvPr id="192" name="Rectangle: Rounded Corners 283">
              <a:extLst>
                <a:ext uri="{FF2B5EF4-FFF2-40B4-BE49-F238E27FC236}">
                  <a16:creationId xmlns:a16="http://schemas.microsoft.com/office/drawing/2014/main" id="{32C79E73-B57E-46B7-BFE4-91CE0755573B}"/>
                </a:ext>
              </a:extLst>
            </p:cNvPr>
            <p:cNvSpPr/>
            <p:nvPr/>
          </p:nvSpPr>
          <p:spPr bwMode="auto">
            <a:xfrm>
              <a:off x="775169" y="2514863"/>
              <a:ext cx="1331927" cy="792656"/>
            </a:xfrm>
            <a:prstGeom prst="roundRect">
              <a:avLst/>
            </a:prstGeom>
            <a:noFill/>
            <a:ln w="25400">
              <a:solidFill>
                <a:srgbClr val="0070C0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34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3" name="Rectangle 192">
              <a:extLst>
                <a:ext uri="{FF2B5EF4-FFF2-40B4-BE49-F238E27FC236}">
                  <a16:creationId xmlns:a16="http://schemas.microsoft.com/office/drawing/2014/main" id="{EC9C6DCE-F1F4-44AF-B810-1D3C1DBB0DB3}"/>
                </a:ext>
              </a:extLst>
            </p:cNvPr>
            <p:cNvSpPr/>
            <p:nvPr/>
          </p:nvSpPr>
          <p:spPr>
            <a:xfrm>
              <a:off x="1140632" y="2993438"/>
              <a:ext cx="681928" cy="1971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endParaRPr>
            </a:p>
          </p:txBody>
        </p:sp>
      </p:grpSp>
      <p:cxnSp>
        <p:nvCxnSpPr>
          <p:cNvPr id="201" name="Straight Arrow Connector 200">
            <a:extLst>
              <a:ext uri="{FF2B5EF4-FFF2-40B4-BE49-F238E27FC236}">
                <a16:creationId xmlns:a16="http://schemas.microsoft.com/office/drawing/2014/main" id="{68543B4A-E70C-4157-987C-3C3F03506511}"/>
              </a:ext>
            </a:extLst>
          </p:cNvPr>
          <p:cNvCxnSpPr>
            <a:cxnSpLocks/>
          </p:cNvCxnSpPr>
          <p:nvPr/>
        </p:nvCxnSpPr>
        <p:spPr bwMode="auto">
          <a:xfrm flipH="1">
            <a:off x="4489938" y="2943138"/>
            <a:ext cx="596107" cy="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04" name="Rectangle: Rounded Corners 283">
            <a:extLst>
              <a:ext uri="{FF2B5EF4-FFF2-40B4-BE49-F238E27FC236}">
                <a16:creationId xmlns:a16="http://schemas.microsoft.com/office/drawing/2014/main" id="{9F62386D-E24B-4A63-BB23-73E0DFDEE0CE}"/>
              </a:ext>
            </a:extLst>
          </p:cNvPr>
          <p:cNvSpPr/>
          <p:nvPr/>
        </p:nvSpPr>
        <p:spPr bwMode="auto">
          <a:xfrm>
            <a:off x="1708282" y="2499484"/>
            <a:ext cx="983527" cy="928078"/>
          </a:xfrm>
          <a:prstGeom prst="roundRect">
            <a:avLst/>
          </a:prstGeom>
          <a:noFill/>
          <a:ln w="25400">
            <a:solidFill>
              <a:srgbClr val="0070C0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3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Calibr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206" name="Straight Arrow Connector 205">
            <a:extLst>
              <a:ext uri="{FF2B5EF4-FFF2-40B4-BE49-F238E27FC236}">
                <a16:creationId xmlns:a16="http://schemas.microsoft.com/office/drawing/2014/main" id="{48223FD2-4B4F-4C19-8DB0-1A3C53C14C6A}"/>
              </a:ext>
            </a:extLst>
          </p:cNvPr>
          <p:cNvCxnSpPr>
            <a:cxnSpLocks/>
          </p:cNvCxnSpPr>
          <p:nvPr/>
        </p:nvCxnSpPr>
        <p:spPr bwMode="auto">
          <a:xfrm flipH="1">
            <a:off x="2651948" y="2923458"/>
            <a:ext cx="596107" cy="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768F74C7-79D7-4866-82CA-C9412239D9D5}"/>
              </a:ext>
            </a:extLst>
          </p:cNvPr>
          <p:cNvSpPr/>
          <p:nvPr/>
        </p:nvSpPr>
        <p:spPr>
          <a:xfrm>
            <a:off x="5962980" y="982230"/>
            <a:ext cx="62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View pass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8E200C7F-B627-4B2D-9981-08F99FD55E23}"/>
              </a:ext>
            </a:extLst>
          </p:cNvPr>
          <p:cNvCxnSpPr>
            <a:cxnSpLocks/>
          </p:cNvCxnSpPr>
          <p:nvPr/>
        </p:nvCxnSpPr>
        <p:spPr bwMode="auto">
          <a:xfrm flipV="1">
            <a:off x="6349130" y="673411"/>
            <a:ext cx="6801" cy="664979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687E0F17-413D-47A0-8D45-61AA364B8FDA}"/>
              </a:ext>
            </a:extLst>
          </p:cNvPr>
          <p:cNvSpPr txBox="1"/>
          <p:nvPr/>
        </p:nvSpPr>
        <p:spPr>
          <a:xfrm>
            <a:off x="3732854" y="367370"/>
            <a:ext cx="2106975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If code review fails an email will send to developer to recheck the code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C39AA65C-D0F6-45F3-8365-9470ABA11BC8}"/>
              </a:ext>
            </a:extLst>
          </p:cNvPr>
          <p:cNvSpPr/>
          <p:nvPr/>
        </p:nvSpPr>
        <p:spPr>
          <a:xfrm>
            <a:off x="6103809" y="182646"/>
            <a:ext cx="62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Re-view fails</a:t>
            </a:r>
          </a:p>
        </p:txBody>
      </p: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1B4D7EAC-9E95-4DAD-A37D-5473B5266BD7}"/>
              </a:ext>
            </a:extLst>
          </p:cNvPr>
          <p:cNvCxnSpPr>
            <a:cxnSpLocks/>
          </p:cNvCxnSpPr>
          <p:nvPr/>
        </p:nvCxnSpPr>
        <p:spPr bwMode="auto">
          <a:xfrm flipV="1">
            <a:off x="11660273" y="2973465"/>
            <a:ext cx="392742" cy="3519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91" name="Rectangle: Rounded Corners 283">
            <a:extLst>
              <a:ext uri="{FF2B5EF4-FFF2-40B4-BE49-F238E27FC236}">
                <a16:creationId xmlns:a16="http://schemas.microsoft.com/office/drawing/2014/main" id="{BC5E2C82-5449-4E02-B022-1DF4F3C64965}"/>
              </a:ext>
            </a:extLst>
          </p:cNvPr>
          <p:cNvSpPr/>
          <p:nvPr/>
        </p:nvSpPr>
        <p:spPr bwMode="auto">
          <a:xfrm>
            <a:off x="9800004" y="193319"/>
            <a:ext cx="1998569" cy="488898"/>
          </a:xfrm>
          <a:prstGeom prst="roundRect">
            <a:avLst/>
          </a:prstGeom>
          <a:noFill/>
          <a:ln w="25400">
            <a:solidFill>
              <a:srgbClr val="0070C0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3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Calibri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F008BC0-1F95-4E1B-A18B-CA4C3F4D626B}"/>
              </a:ext>
            </a:extLst>
          </p:cNvPr>
          <p:cNvCxnSpPr/>
          <p:nvPr/>
        </p:nvCxnSpPr>
        <p:spPr bwMode="auto">
          <a:xfrm flipH="1">
            <a:off x="3248055" y="182646"/>
            <a:ext cx="6515482" cy="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1579BADB-D115-4359-8C97-F85FEA06DDE9}"/>
              </a:ext>
            </a:extLst>
          </p:cNvPr>
          <p:cNvCxnSpPr/>
          <p:nvPr/>
        </p:nvCxnSpPr>
        <p:spPr bwMode="auto">
          <a:xfrm>
            <a:off x="3248055" y="182646"/>
            <a:ext cx="0" cy="728482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2" name="Rectangle 101">
            <a:extLst>
              <a:ext uri="{FF2B5EF4-FFF2-40B4-BE49-F238E27FC236}">
                <a16:creationId xmlns:a16="http://schemas.microsoft.com/office/drawing/2014/main" id="{A3E28855-36E4-4232-B7F1-B64976BB2AB8}"/>
              </a:ext>
            </a:extLst>
          </p:cNvPr>
          <p:cNvSpPr/>
          <p:nvPr/>
        </p:nvSpPr>
        <p:spPr>
          <a:xfrm>
            <a:off x="11623378" y="2604132"/>
            <a:ext cx="62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Build failed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5F8DED5-6FDC-49E3-9D85-2409B30AE8D3}"/>
              </a:ext>
            </a:extLst>
          </p:cNvPr>
          <p:cNvCxnSpPr>
            <a:cxnSpLocks/>
            <a:endCxn id="85" idx="2"/>
          </p:cNvCxnSpPr>
          <p:nvPr/>
        </p:nvCxnSpPr>
        <p:spPr bwMode="auto">
          <a:xfrm flipH="1">
            <a:off x="3334666" y="673412"/>
            <a:ext cx="3002656" cy="17256"/>
          </a:xfrm>
          <a:prstGeom prst="line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5" name="Rectangle 114">
            <a:extLst>
              <a:ext uri="{FF2B5EF4-FFF2-40B4-BE49-F238E27FC236}">
                <a16:creationId xmlns:a16="http://schemas.microsoft.com/office/drawing/2014/main" id="{E3890BB0-8D4E-477F-B9EE-F538A2FEB6FA}"/>
              </a:ext>
            </a:extLst>
          </p:cNvPr>
          <p:cNvSpPr/>
          <p:nvPr/>
        </p:nvSpPr>
        <p:spPr>
          <a:xfrm>
            <a:off x="9819552" y="2574450"/>
            <a:ext cx="62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Build pass</a:t>
            </a:r>
          </a:p>
        </p:txBody>
      </p: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16047606-6DB4-421D-8A3F-F36C65BEE230}"/>
              </a:ext>
            </a:extLst>
          </p:cNvPr>
          <p:cNvCxnSpPr>
            <a:cxnSpLocks/>
          </p:cNvCxnSpPr>
          <p:nvPr/>
        </p:nvCxnSpPr>
        <p:spPr bwMode="auto">
          <a:xfrm>
            <a:off x="607533" y="3416241"/>
            <a:ext cx="0" cy="436433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7EE9C6A-5ADB-440C-A184-61239544CD73}"/>
              </a:ext>
            </a:extLst>
          </p:cNvPr>
          <p:cNvSpPr/>
          <p:nvPr/>
        </p:nvSpPr>
        <p:spPr>
          <a:xfrm>
            <a:off x="11628171" y="3468573"/>
            <a:ext cx="62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SQube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fails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D6C9FCB4-30EF-4BF3-AB9C-B5EFC9086973}"/>
              </a:ext>
            </a:extLst>
          </p:cNvPr>
          <p:cNvCxnSpPr/>
          <p:nvPr/>
        </p:nvCxnSpPr>
        <p:spPr bwMode="auto">
          <a:xfrm>
            <a:off x="11008674" y="3886200"/>
            <a:ext cx="1083063" cy="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AC4BCFB3-FF99-43B4-B176-75F78E75F358}"/>
              </a:ext>
            </a:extLst>
          </p:cNvPr>
          <p:cNvCxnSpPr/>
          <p:nvPr/>
        </p:nvCxnSpPr>
        <p:spPr bwMode="auto">
          <a:xfrm flipV="1">
            <a:off x="12091737" y="193319"/>
            <a:ext cx="0" cy="3692881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A3301622-8709-463B-8991-D9CDFFED958E}"/>
              </a:ext>
            </a:extLst>
          </p:cNvPr>
          <p:cNvCxnSpPr/>
          <p:nvPr/>
        </p:nvCxnSpPr>
        <p:spPr bwMode="auto">
          <a:xfrm flipH="1">
            <a:off x="11772442" y="193319"/>
            <a:ext cx="319295" cy="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61" name="Picture 60">
            <a:extLst>
              <a:ext uri="{FF2B5EF4-FFF2-40B4-BE49-F238E27FC236}">
                <a16:creationId xmlns:a16="http://schemas.microsoft.com/office/drawing/2014/main" id="{3D962BDE-3358-4C11-A66F-4855D4CE92F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92628" y="2524739"/>
            <a:ext cx="652196" cy="507831"/>
          </a:xfrm>
          <a:prstGeom prst="rect">
            <a:avLst/>
          </a:prstGeom>
        </p:spPr>
      </p:pic>
      <p:sp>
        <p:nvSpPr>
          <p:cNvPr id="138" name="TextBox 137">
            <a:extLst>
              <a:ext uri="{FF2B5EF4-FFF2-40B4-BE49-F238E27FC236}">
                <a16:creationId xmlns:a16="http://schemas.microsoft.com/office/drawing/2014/main" id="{CE75DE24-6EF7-4EC1-A3A0-D37BF2074814}"/>
              </a:ext>
            </a:extLst>
          </p:cNvPr>
          <p:cNvSpPr txBox="1"/>
          <p:nvPr/>
        </p:nvSpPr>
        <p:spPr>
          <a:xfrm>
            <a:off x="9791429" y="239665"/>
            <a:ext cx="2106975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If fails, an email notification will be sent to user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1B3D9583-9195-4513-A030-FE9B917E00E0}"/>
              </a:ext>
            </a:extLst>
          </p:cNvPr>
          <p:cNvSpPr/>
          <p:nvPr/>
        </p:nvSpPr>
        <p:spPr>
          <a:xfrm>
            <a:off x="6305385" y="2451887"/>
            <a:ext cx="62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Review pass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3B7C349F-8B15-4D05-8A23-9CB3BA133561}"/>
              </a:ext>
            </a:extLst>
          </p:cNvPr>
          <p:cNvCxnSpPr>
            <a:cxnSpLocks/>
          </p:cNvCxnSpPr>
          <p:nvPr/>
        </p:nvCxnSpPr>
        <p:spPr bwMode="auto">
          <a:xfrm flipV="1">
            <a:off x="5839828" y="3886199"/>
            <a:ext cx="5191637" cy="18544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53" name="Rectangle 152">
            <a:extLst>
              <a:ext uri="{FF2B5EF4-FFF2-40B4-BE49-F238E27FC236}">
                <a16:creationId xmlns:a16="http://schemas.microsoft.com/office/drawing/2014/main" id="{3C571666-06CC-49EF-A0C6-93A23865C4C4}"/>
              </a:ext>
            </a:extLst>
          </p:cNvPr>
          <p:cNvSpPr/>
          <p:nvPr/>
        </p:nvSpPr>
        <p:spPr>
          <a:xfrm>
            <a:off x="5254995" y="3105018"/>
            <a:ext cx="8497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Azure App Service</a:t>
            </a:r>
          </a:p>
        </p:txBody>
      </p:sp>
      <p:cxnSp>
        <p:nvCxnSpPr>
          <p:cNvPr id="156" name="Straight Arrow Connector 155">
            <a:extLst>
              <a:ext uri="{FF2B5EF4-FFF2-40B4-BE49-F238E27FC236}">
                <a16:creationId xmlns:a16="http://schemas.microsoft.com/office/drawing/2014/main" id="{83021799-6F70-457B-AB0E-677E7C163819}"/>
              </a:ext>
            </a:extLst>
          </p:cNvPr>
          <p:cNvCxnSpPr>
            <a:cxnSpLocks/>
          </p:cNvCxnSpPr>
          <p:nvPr/>
        </p:nvCxnSpPr>
        <p:spPr bwMode="auto">
          <a:xfrm flipH="1">
            <a:off x="1112175" y="2950727"/>
            <a:ext cx="596107" cy="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64" name="Rectangle 163">
            <a:extLst>
              <a:ext uri="{FF2B5EF4-FFF2-40B4-BE49-F238E27FC236}">
                <a16:creationId xmlns:a16="http://schemas.microsoft.com/office/drawing/2014/main" id="{867CBFE8-C4B5-4D0B-829C-86639BC7A184}"/>
              </a:ext>
            </a:extLst>
          </p:cNvPr>
          <p:cNvSpPr/>
          <p:nvPr/>
        </p:nvSpPr>
        <p:spPr>
          <a:xfrm>
            <a:off x="45855" y="3503637"/>
            <a:ext cx="62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B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uild pass</a:t>
            </a:r>
          </a:p>
        </p:txBody>
      </p:sp>
      <p:sp>
        <p:nvSpPr>
          <p:cNvPr id="166" name="Rectangle: Rounded Corners 283">
            <a:extLst>
              <a:ext uri="{FF2B5EF4-FFF2-40B4-BE49-F238E27FC236}">
                <a16:creationId xmlns:a16="http://schemas.microsoft.com/office/drawing/2014/main" id="{1339B9B7-187F-479D-A46D-0539E63DA880}"/>
              </a:ext>
            </a:extLst>
          </p:cNvPr>
          <p:cNvSpPr/>
          <p:nvPr/>
        </p:nvSpPr>
        <p:spPr bwMode="auto">
          <a:xfrm>
            <a:off x="115770" y="2527107"/>
            <a:ext cx="983527" cy="928078"/>
          </a:xfrm>
          <a:prstGeom prst="roundRect">
            <a:avLst/>
          </a:prstGeom>
          <a:noFill/>
          <a:ln w="25400">
            <a:solidFill>
              <a:srgbClr val="0070C0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3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Calibr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A88E8739-9207-47A2-A0D1-69908D4227A5}"/>
              </a:ext>
            </a:extLst>
          </p:cNvPr>
          <p:cNvSpPr txBox="1"/>
          <p:nvPr/>
        </p:nvSpPr>
        <p:spPr>
          <a:xfrm>
            <a:off x="-99395" y="4881197"/>
            <a:ext cx="1798313" cy="21544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Artifact will push it to PROD env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39132228-6480-42F6-99B3-5CC06CA42E5C}"/>
              </a:ext>
            </a:extLst>
          </p:cNvPr>
          <p:cNvSpPr/>
          <p:nvPr/>
        </p:nvSpPr>
        <p:spPr>
          <a:xfrm>
            <a:off x="133534" y="3229501"/>
            <a:ext cx="96288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Build Pipeline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07AB00C6-92F6-428A-9A69-466261B167BD}"/>
              </a:ext>
            </a:extLst>
          </p:cNvPr>
          <p:cNvSpPr txBox="1"/>
          <p:nvPr/>
        </p:nvSpPr>
        <p:spPr>
          <a:xfrm>
            <a:off x="7861765" y="3130113"/>
            <a:ext cx="798822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Azure Resources like Logic Apps, AKS, Web Apps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563F7EA-0523-4AB7-82DC-675FAAFE3408}"/>
              </a:ext>
            </a:extLst>
          </p:cNvPr>
          <p:cNvSpPr/>
          <p:nvPr/>
        </p:nvSpPr>
        <p:spPr>
          <a:xfrm>
            <a:off x="4566099" y="2575596"/>
            <a:ext cx="62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Staging p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B93681-4D42-4EE9-9350-1609CAF7381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30473" y="1194977"/>
            <a:ext cx="881874" cy="319163"/>
          </a:xfrm>
          <a:prstGeom prst="rect">
            <a:avLst/>
          </a:prstGeom>
        </p:spPr>
      </p:pic>
      <p:pic>
        <p:nvPicPr>
          <p:cNvPr id="119" name="Picture 118">
            <a:extLst>
              <a:ext uri="{FF2B5EF4-FFF2-40B4-BE49-F238E27FC236}">
                <a16:creationId xmlns:a16="http://schemas.microsoft.com/office/drawing/2014/main" id="{FC44B07D-AF00-44EE-A497-C5D7924D81F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95121" y="1216939"/>
            <a:ext cx="881874" cy="319163"/>
          </a:xfrm>
          <a:prstGeom prst="rect">
            <a:avLst/>
          </a:prstGeom>
        </p:spPr>
      </p:pic>
      <p:sp>
        <p:nvSpPr>
          <p:cNvPr id="125" name="Rectangle 124">
            <a:extLst>
              <a:ext uri="{FF2B5EF4-FFF2-40B4-BE49-F238E27FC236}">
                <a16:creationId xmlns:a16="http://schemas.microsoft.com/office/drawing/2014/main" id="{D9020AD9-8D87-4ABA-A2C7-7A452E773B2A}"/>
              </a:ext>
            </a:extLst>
          </p:cNvPr>
          <p:cNvSpPr/>
          <p:nvPr/>
        </p:nvSpPr>
        <p:spPr>
          <a:xfrm>
            <a:off x="1815556" y="3149022"/>
            <a:ext cx="91108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Prod Branch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58BBE588-B3BE-4DB6-9AD0-A811C320DB67}"/>
              </a:ext>
            </a:extLst>
          </p:cNvPr>
          <p:cNvSpPr txBox="1"/>
          <p:nvPr/>
        </p:nvSpPr>
        <p:spPr>
          <a:xfrm>
            <a:off x="2501172" y="2553827"/>
            <a:ext cx="862376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Review Success. 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79A0CF7B-3C72-4965-8446-B1BDC74D4F5B}"/>
              </a:ext>
            </a:extLst>
          </p:cNvPr>
          <p:cNvSpPr txBox="1"/>
          <p:nvPr/>
        </p:nvSpPr>
        <p:spPr>
          <a:xfrm>
            <a:off x="3134716" y="3487134"/>
            <a:ext cx="862376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Build Fails. 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E718A0F-F47C-45AF-B645-85BC227B01A1}"/>
              </a:ext>
            </a:extLst>
          </p:cNvPr>
          <p:cNvCxnSpPr/>
          <p:nvPr/>
        </p:nvCxnSpPr>
        <p:spPr bwMode="auto">
          <a:xfrm flipH="1" flipV="1">
            <a:off x="3834468" y="2109134"/>
            <a:ext cx="18847" cy="421851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3B30D07-AD3C-4633-B66A-61B4D049E6BF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6404899" y="1375648"/>
            <a:ext cx="27875" cy="83278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5" name="Rectangle 134">
            <a:extLst>
              <a:ext uri="{FF2B5EF4-FFF2-40B4-BE49-F238E27FC236}">
                <a16:creationId xmlns:a16="http://schemas.microsoft.com/office/drawing/2014/main" id="{717068E8-06BA-4782-9DBD-9EA0C6A726D9}"/>
              </a:ext>
            </a:extLst>
          </p:cNvPr>
          <p:cNvSpPr/>
          <p:nvPr/>
        </p:nvSpPr>
        <p:spPr>
          <a:xfrm>
            <a:off x="4122599" y="2154561"/>
            <a:ext cx="60488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Review  Fails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1275DF67-1C4B-4DAD-8FB7-E67EAFCB064D}"/>
              </a:ext>
            </a:extLst>
          </p:cNvPr>
          <p:cNvSpPr txBox="1"/>
          <p:nvPr/>
        </p:nvSpPr>
        <p:spPr>
          <a:xfrm>
            <a:off x="1637215" y="2170111"/>
            <a:ext cx="1253794" cy="21544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Sqube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 for PROD env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9E6A84FF-647B-437B-AD8A-DFD160778BA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647032" y="985330"/>
            <a:ext cx="662506" cy="532997"/>
          </a:xfrm>
          <a:prstGeom prst="rect">
            <a:avLst/>
          </a:prstGeom>
        </p:spPr>
      </p:pic>
      <p:pic>
        <p:nvPicPr>
          <p:cNvPr id="136" name="Picture 135">
            <a:extLst>
              <a:ext uri="{FF2B5EF4-FFF2-40B4-BE49-F238E27FC236}">
                <a16:creationId xmlns:a16="http://schemas.microsoft.com/office/drawing/2014/main" id="{B21C36AD-ECA9-443A-8049-D1A55E64106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592015" y="2642938"/>
            <a:ext cx="956579" cy="444523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E66B8B17-3440-44D6-B993-7FB64B02D9C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753486" y="2618152"/>
            <a:ext cx="857294" cy="386076"/>
          </a:xfrm>
          <a:prstGeom prst="rect">
            <a:avLst/>
          </a:prstGeom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id="{21DC4737-66A6-49FD-BCCC-1B81C0529F4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945091" y="2521689"/>
            <a:ext cx="885353" cy="569501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900837DD-737B-4BC3-9524-FF247F61417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159156" y="2556513"/>
            <a:ext cx="1041454" cy="432779"/>
          </a:xfrm>
          <a:prstGeom prst="rect">
            <a:avLst/>
          </a:prstGeom>
        </p:spPr>
      </p:pic>
      <p:sp>
        <p:nvSpPr>
          <p:cNvPr id="144" name="TextBox 143">
            <a:extLst>
              <a:ext uri="{FF2B5EF4-FFF2-40B4-BE49-F238E27FC236}">
                <a16:creationId xmlns:a16="http://schemas.microsoft.com/office/drawing/2014/main" id="{FE505CEA-294F-4FFA-96C4-20313A802429}"/>
              </a:ext>
            </a:extLst>
          </p:cNvPr>
          <p:cNvSpPr txBox="1"/>
          <p:nvPr/>
        </p:nvSpPr>
        <p:spPr>
          <a:xfrm>
            <a:off x="5033085" y="2100166"/>
            <a:ext cx="1253794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50973">
              <a:defRPr sz="900" kern="0"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50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Take latest docker images and deploy it to App Service </a:t>
            </a:r>
          </a:p>
        </p:txBody>
      </p:sp>
      <p:pic>
        <p:nvPicPr>
          <p:cNvPr id="147" name="Picture 146" descr="Bitbucket Pricing Hike Increases Cost Per User by 100% – WP Tavern">
            <a:extLst>
              <a:ext uri="{FF2B5EF4-FFF2-40B4-BE49-F238E27FC236}">
                <a16:creationId xmlns:a16="http://schemas.microsoft.com/office/drawing/2014/main" id="{9C514CCF-5A7D-47C8-A235-37229E2321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5580" y="2555849"/>
            <a:ext cx="1135488" cy="283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8" name="Picture 147">
            <a:extLst>
              <a:ext uri="{FF2B5EF4-FFF2-40B4-BE49-F238E27FC236}">
                <a16:creationId xmlns:a16="http://schemas.microsoft.com/office/drawing/2014/main" id="{7D21621D-4CA7-4DFB-B9AD-6D2A6328B4B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37074" y="2824348"/>
            <a:ext cx="881874" cy="319163"/>
          </a:xfrm>
          <a:prstGeom prst="rect">
            <a:avLst/>
          </a:prstGeom>
        </p:spPr>
      </p:pic>
      <p:sp>
        <p:nvSpPr>
          <p:cNvPr id="150" name="Rectangle 149">
            <a:extLst>
              <a:ext uri="{FF2B5EF4-FFF2-40B4-BE49-F238E27FC236}">
                <a16:creationId xmlns:a16="http://schemas.microsoft.com/office/drawing/2014/main" id="{4DD28D91-139C-49A7-A7EC-627B183BD746}"/>
              </a:ext>
            </a:extLst>
          </p:cNvPr>
          <p:cNvSpPr/>
          <p:nvPr/>
        </p:nvSpPr>
        <p:spPr>
          <a:xfrm>
            <a:off x="3599007" y="3083326"/>
            <a:ext cx="62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Staging Branch</a:t>
            </a:r>
          </a:p>
        </p:txBody>
      </p:sp>
      <p:pic>
        <p:nvPicPr>
          <p:cNvPr id="151" name="Picture 150" descr="Bitbucket Pricing Hike Increases Cost Per User by 100% – WP Tavern">
            <a:extLst>
              <a:ext uri="{FF2B5EF4-FFF2-40B4-BE49-F238E27FC236}">
                <a16:creationId xmlns:a16="http://schemas.microsoft.com/office/drawing/2014/main" id="{D2C49CE7-0BED-4FD1-B33E-1D3ACA3595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7632" y="2606296"/>
            <a:ext cx="971418" cy="242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2" name="Picture 161">
            <a:extLst>
              <a:ext uri="{FF2B5EF4-FFF2-40B4-BE49-F238E27FC236}">
                <a16:creationId xmlns:a16="http://schemas.microsoft.com/office/drawing/2014/main" id="{7ECA482A-BC38-4318-A999-AAFE85E946D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74204" y="2941198"/>
            <a:ext cx="881874" cy="319163"/>
          </a:xfrm>
          <a:prstGeom prst="rect">
            <a:avLst/>
          </a:prstGeom>
        </p:spPr>
      </p:pic>
      <p:pic>
        <p:nvPicPr>
          <p:cNvPr id="167" name="Picture 166">
            <a:extLst>
              <a:ext uri="{FF2B5EF4-FFF2-40B4-BE49-F238E27FC236}">
                <a16:creationId xmlns:a16="http://schemas.microsoft.com/office/drawing/2014/main" id="{C0CA0BA2-2582-4EED-A6F9-904D2FDE301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0595" y="2642937"/>
            <a:ext cx="956579" cy="444523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311D519-A954-411B-904D-FDBD5CE8BF64}"/>
              </a:ext>
            </a:extLst>
          </p:cNvPr>
          <p:cNvCxnSpPr/>
          <p:nvPr/>
        </p:nvCxnSpPr>
        <p:spPr bwMode="auto">
          <a:xfrm>
            <a:off x="3834468" y="2154561"/>
            <a:ext cx="2671328" cy="1555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69" name="Straight Arrow Connector 168">
            <a:extLst>
              <a:ext uri="{FF2B5EF4-FFF2-40B4-BE49-F238E27FC236}">
                <a16:creationId xmlns:a16="http://schemas.microsoft.com/office/drawing/2014/main" id="{CFF07DBD-E6B4-4BDA-A85D-5B8056CB696E}"/>
              </a:ext>
            </a:extLst>
          </p:cNvPr>
          <p:cNvCxnSpPr>
            <a:cxnSpLocks/>
          </p:cNvCxnSpPr>
          <p:nvPr/>
        </p:nvCxnSpPr>
        <p:spPr bwMode="auto">
          <a:xfrm>
            <a:off x="9226642" y="3388012"/>
            <a:ext cx="12474" cy="979451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78D5E346-8F7C-4EFA-8BB2-61509F7A969F}"/>
              </a:ext>
            </a:extLst>
          </p:cNvPr>
          <p:cNvCxnSpPr>
            <a:cxnSpLocks/>
          </p:cNvCxnSpPr>
          <p:nvPr/>
        </p:nvCxnSpPr>
        <p:spPr bwMode="auto">
          <a:xfrm flipH="1">
            <a:off x="5824935" y="4367463"/>
            <a:ext cx="3375310" cy="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F0755AC8-E2FA-4EF8-B443-DCD5390C7CE4}"/>
              </a:ext>
            </a:extLst>
          </p:cNvPr>
          <p:cNvCxnSpPr/>
          <p:nvPr/>
        </p:nvCxnSpPr>
        <p:spPr bwMode="auto">
          <a:xfrm flipH="1" flipV="1">
            <a:off x="5839828" y="3452658"/>
            <a:ext cx="30500" cy="962931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5DC57DAD-33AB-4CD5-AFA6-AAAF0AAB252F}"/>
              </a:ext>
            </a:extLst>
          </p:cNvPr>
          <p:cNvGrpSpPr/>
          <p:nvPr/>
        </p:nvGrpSpPr>
        <p:grpSpPr>
          <a:xfrm>
            <a:off x="87703" y="3873208"/>
            <a:ext cx="1234552" cy="928078"/>
            <a:chOff x="775169" y="2514863"/>
            <a:chExt cx="1339218" cy="792656"/>
          </a:xfrm>
        </p:grpSpPr>
        <p:sp>
          <p:nvSpPr>
            <p:cNvPr id="194" name="Rectangle: Rounded Corners 283">
              <a:extLst>
                <a:ext uri="{FF2B5EF4-FFF2-40B4-BE49-F238E27FC236}">
                  <a16:creationId xmlns:a16="http://schemas.microsoft.com/office/drawing/2014/main" id="{763C22D9-0BEE-4C41-96B4-2E9BCA3D2D95}"/>
                </a:ext>
              </a:extLst>
            </p:cNvPr>
            <p:cNvSpPr/>
            <p:nvPr/>
          </p:nvSpPr>
          <p:spPr bwMode="auto">
            <a:xfrm>
              <a:off x="775169" y="2514863"/>
              <a:ext cx="1331927" cy="792656"/>
            </a:xfrm>
            <a:prstGeom prst="roundRect">
              <a:avLst/>
            </a:prstGeom>
            <a:noFill/>
            <a:ln w="25400">
              <a:solidFill>
                <a:srgbClr val="0070C0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34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libr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5" name="Rectangle 194">
              <a:extLst>
                <a:ext uri="{FF2B5EF4-FFF2-40B4-BE49-F238E27FC236}">
                  <a16:creationId xmlns:a16="http://schemas.microsoft.com/office/drawing/2014/main" id="{525FAE02-2869-465D-8A4C-502F124CD38C}"/>
                </a:ext>
              </a:extLst>
            </p:cNvPr>
            <p:cNvSpPr/>
            <p:nvPr/>
          </p:nvSpPr>
          <p:spPr>
            <a:xfrm>
              <a:off x="1137502" y="3006988"/>
              <a:ext cx="976885" cy="1971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endParaRPr>
            </a:p>
          </p:txBody>
        </p:sp>
      </p:grpSp>
      <p:pic>
        <p:nvPicPr>
          <p:cNvPr id="196" name="Picture 195">
            <a:extLst>
              <a:ext uri="{FF2B5EF4-FFF2-40B4-BE49-F238E27FC236}">
                <a16:creationId xmlns:a16="http://schemas.microsoft.com/office/drawing/2014/main" id="{8084B319-A592-44CE-BFF1-4C3DED67FE4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6665" y="3983592"/>
            <a:ext cx="594953" cy="386076"/>
          </a:xfrm>
          <a:prstGeom prst="rect">
            <a:avLst/>
          </a:prstGeom>
        </p:spPr>
      </p:pic>
      <p:pic>
        <p:nvPicPr>
          <p:cNvPr id="197" name="Picture 196">
            <a:extLst>
              <a:ext uri="{FF2B5EF4-FFF2-40B4-BE49-F238E27FC236}">
                <a16:creationId xmlns:a16="http://schemas.microsoft.com/office/drawing/2014/main" id="{752E16A9-F42D-4DEE-91D5-6010331C0E3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77973" y="3944920"/>
            <a:ext cx="589700" cy="432779"/>
          </a:xfrm>
          <a:prstGeom prst="rect">
            <a:avLst/>
          </a:prstGeom>
        </p:spPr>
      </p:pic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C23D6ECC-531F-4FFF-8277-ABF8A71CA024}"/>
              </a:ext>
            </a:extLst>
          </p:cNvPr>
          <p:cNvCxnSpPr>
            <a:cxnSpLocks/>
          </p:cNvCxnSpPr>
          <p:nvPr/>
        </p:nvCxnSpPr>
        <p:spPr bwMode="auto">
          <a:xfrm>
            <a:off x="2214843" y="3665299"/>
            <a:ext cx="9443" cy="1107831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496D561-0AAF-42F7-9DCA-2DF40C013A7A}"/>
              </a:ext>
            </a:extLst>
          </p:cNvPr>
          <p:cNvCxnSpPr/>
          <p:nvPr/>
        </p:nvCxnSpPr>
        <p:spPr bwMode="auto">
          <a:xfrm>
            <a:off x="2224186" y="4801286"/>
            <a:ext cx="9838747" cy="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11B60844-003F-4348-A45D-FA330C0DEA5B}"/>
              </a:ext>
            </a:extLst>
          </p:cNvPr>
          <p:cNvCxnSpPr>
            <a:endCxn id="118" idx="2"/>
          </p:cNvCxnSpPr>
          <p:nvPr/>
        </p:nvCxnSpPr>
        <p:spPr bwMode="auto">
          <a:xfrm flipV="1">
            <a:off x="12053015" y="3886199"/>
            <a:ext cx="0" cy="915087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00" name="Rectangle 199">
            <a:extLst>
              <a:ext uri="{FF2B5EF4-FFF2-40B4-BE49-F238E27FC236}">
                <a16:creationId xmlns:a16="http://schemas.microsoft.com/office/drawing/2014/main" id="{34B024D9-8CD9-4D46-BEFC-F6FEBA59B3F0}"/>
              </a:ext>
            </a:extLst>
          </p:cNvPr>
          <p:cNvSpPr/>
          <p:nvPr/>
        </p:nvSpPr>
        <p:spPr>
          <a:xfrm>
            <a:off x="2208122" y="3922714"/>
            <a:ext cx="62863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MS PGothic" panose="020B0600070205080204" pitchFamily="34" charset="-128"/>
                <a:cs typeface="Segoe UI Semibold" panose="020B0702040204020203" pitchFamily="34" charset="0"/>
              </a:rPr>
              <a:t>PROD build fails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D8476C0-113D-40EA-A96B-9DC14346B6C3}"/>
              </a:ext>
            </a:extLst>
          </p:cNvPr>
          <p:cNvCxnSpPr/>
          <p:nvPr/>
        </p:nvCxnSpPr>
        <p:spPr bwMode="auto">
          <a:xfrm flipH="1">
            <a:off x="614975" y="3653239"/>
            <a:ext cx="1609211" cy="12060"/>
          </a:xfrm>
          <a:prstGeom prst="straightConnector1">
            <a:avLst/>
          </a:prstGeom>
          <a:solidFill>
            <a:srgbClr val="C0C0C0"/>
          </a:solidFill>
          <a:ln w="12700" cap="flat" cmpd="sng" algn="ctr">
            <a:solidFill>
              <a:srgbClr val="777777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6547415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Johnson &amp; Johnson">
  <a:themeElements>
    <a:clrScheme name="Custom 4">
      <a:dk1>
        <a:srgbClr val="212121"/>
      </a:dk1>
      <a:lt1>
        <a:srgbClr val="FFFFFF"/>
      </a:lt1>
      <a:dk2>
        <a:srgbClr val="63666A"/>
      </a:dk2>
      <a:lt2>
        <a:srgbClr val="F4F4F4"/>
      </a:lt2>
      <a:accent1>
        <a:srgbClr val="CA001B"/>
      </a:accent1>
      <a:accent2>
        <a:srgbClr val="000099"/>
      </a:accent2>
      <a:accent3>
        <a:srgbClr val="CC0099"/>
      </a:accent3>
      <a:accent4>
        <a:srgbClr val="009999"/>
      </a:accent4>
      <a:accent5>
        <a:srgbClr val="FF6600"/>
      </a:accent5>
      <a:accent6>
        <a:srgbClr val="6633CC"/>
      </a:accent6>
      <a:hlink>
        <a:srgbClr val="9DA1AC"/>
      </a:hlink>
      <a:folHlink>
        <a:srgbClr val="888B8D"/>
      </a:folHlink>
    </a:clrScheme>
    <a:fontScheme name="Title &amp; Bullets">
      <a:majorFont>
        <a:latin typeface="Arial"/>
        <a:ea typeface="ヒラギノ角ゴ ProN W6"/>
        <a:cs typeface="ヒラギノ角ゴ ProN W6"/>
      </a:majorFont>
      <a:minorFont>
        <a:latin typeface="Arial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2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pitchFamily="-110" charset="0"/>
            <a:ea typeface="ヒラギノ角ゴ ProN W3" pitchFamily="-110" charset="-128"/>
            <a:cs typeface="ヒラギノ角ゴ ProN W3" pitchFamily="-110" charset="-128"/>
            <a:sym typeface="Arial" pitchFamily="-110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0"/>
        </a:solidFill>
        <a:ln w="12700" cap="flat" cmpd="sng" algn="ctr">
          <a:solidFill>
            <a:srgbClr val="777777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>
            <a:ln>
              <a:noFill/>
            </a:ln>
            <a:solidFill>
              <a:srgbClr val="777777"/>
            </a:solidFill>
            <a:effectLst/>
            <a:latin typeface="Arial" pitchFamily="-110" charset="0"/>
            <a:ea typeface="ヒラギノ角ゴ ProN W3" pitchFamily="-110" charset="-128"/>
            <a:cs typeface="ヒラギノ角ゴ ProN W3" pitchFamily="-110" charset="-128"/>
            <a:sym typeface="Arial" pitchFamily="-110" charset="0"/>
          </a:defRPr>
        </a:defPPr>
      </a:lstStyle>
    </a:lnDef>
  </a:objectDefaults>
  <a:extraClrSchemeLst>
    <a:extraClrScheme>
      <a:clrScheme name="Title &amp;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Johnson &amp; Johnson" id="{B9AAD819-099C-4494-A833-9F91DEBE1450}" vid="{34C80079-9614-4A85-8E47-A46BFFF8B04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3</TotalTime>
  <Words>632</Words>
  <Application>Microsoft Office PowerPoint</Application>
  <PresentationFormat>Widescreen</PresentationFormat>
  <Paragraphs>127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Georgia</vt:lpstr>
      <vt:lpstr>Segoe UI Semibold</vt:lpstr>
      <vt:lpstr>Johnson &amp; Johnson</vt:lpstr>
      <vt:lpstr>think-cell Slide</vt:lpstr>
      <vt:lpstr>PowerPoint Presentation</vt:lpstr>
      <vt:lpstr>Jenkins Workflow</vt:lpstr>
      <vt:lpstr>Azure DevOps Workflow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opa, Siva [CONIN NON-J&amp;J]</dc:creator>
  <cp:lastModifiedBy>Roopa, Siva [CONIN NON-J&amp;J]</cp:lastModifiedBy>
  <cp:revision>21</cp:revision>
  <dcterms:created xsi:type="dcterms:W3CDTF">2022-01-05T10:28:06Z</dcterms:created>
  <dcterms:modified xsi:type="dcterms:W3CDTF">2022-01-07T09:56:36Z</dcterms:modified>
</cp:coreProperties>
</file>